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</p:sldMasterIdLst>
  <p:sldIdLst>
    <p:sldId id="256" r:id="rId2"/>
    <p:sldId id="261" r:id="rId3"/>
    <p:sldId id="257" r:id="rId4"/>
    <p:sldId id="258" r:id="rId5"/>
    <p:sldId id="259" r:id="rId6"/>
    <p:sldId id="260" r:id="rId7"/>
    <p:sldId id="262" r:id="rId8"/>
    <p:sldId id="276" r:id="rId9"/>
    <p:sldId id="264" r:id="rId10"/>
    <p:sldId id="263" r:id="rId11"/>
    <p:sldId id="266" r:id="rId12"/>
    <p:sldId id="270" r:id="rId13"/>
    <p:sldId id="272" r:id="rId14"/>
    <p:sldId id="267" r:id="rId15"/>
    <p:sldId id="269" r:id="rId16"/>
    <p:sldId id="271" r:id="rId17"/>
    <p:sldId id="265" r:id="rId18"/>
    <p:sldId id="273" r:id="rId19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36FADA-656D-4DB6-B22C-4E0865A45C88}" v="1395" dt="2024-09-23T17:00:03.1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1" d="100"/>
          <a:sy n="61" d="100"/>
        </p:scale>
        <p:origin x="8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leicher, Keith" userId="884556d8-3218-47e5-8867-331bdb0fe637" providerId="ADAL" clId="{5F36FADA-656D-4DB6-B22C-4E0865A45C88}"/>
    <pc:docChg chg="undo custSel addSld delSld modSld sldOrd modMainMaster replTag">
      <pc:chgData name="Schleicher, Keith" userId="884556d8-3218-47e5-8867-331bdb0fe637" providerId="ADAL" clId="{5F36FADA-656D-4DB6-B22C-4E0865A45C88}" dt="2024-09-23T17:38:34.561" v="11765" actId="1037"/>
      <pc:docMkLst>
        <pc:docMk/>
      </pc:docMkLst>
      <pc:sldChg chg="addSp delSp modSp mod">
        <pc:chgData name="Schleicher, Keith" userId="884556d8-3218-47e5-8867-331bdb0fe637" providerId="ADAL" clId="{5F36FADA-656D-4DB6-B22C-4E0865A45C88}" dt="2024-08-26T20:01:07.475" v="4104"/>
        <pc:sldMkLst>
          <pc:docMk/>
          <pc:sldMk cId="414790727" sldId="256"/>
        </pc:sldMkLst>
        <pc:spChg chg="mod">
          <ac:chgData name="Schleicher, Keith" userId="884556d8-3218-47e5-8867-331bdb0fe637" providerId="ADAL" clId="{5F36FADA-656D-4DB6-B22C-4E0865A45C88}" dt="2024-08-26T20:01:07.287" v="3923" actId="948"/>
          <ac:spMkLst>
            <pc:docMk/>
            <pc:sldMk cId="414790727" sldId="256"/>
            <ac:spMk id="2" creationId="{26C2B139-4F19-7F71-0739-B8A128607660}"/>
          </ac:spMkLst>
        </pc:spChg>
        <pc:spChg chg="mod">
          <ac:chgData name="Schleicher, Keith" userId="884556d8-3218-47e5-8867-331bdb0fe637" providerId="ADAL" clId="{5F36FADA-656D-4DB6-B22C-4E0865A45C88}" dt="2024-08-26T20:01:06.705" v="3900"/>
          <ac:spMkLst>
            <pc:docMk/>
            <pc:sldMk cId="414790727" sldId="256"/>
            <ac:spMk id="3" creationId="{261DFCA7-0117-082C-B6CB-2B673F98B69E}"/>
          </ac:spMkLst>
        </pc:spChg>
        <pc:spChg chg="add del mod modVis">
          <ac:chgData name="Schleicher, Keith" userId="884556d8-3218-47e5-8867-331bdb0fe637" providerId="ADAL" clId="{5F36FADA-656D-4DB6-B22C-4E0865A45C88}" dt="2024-08-26T20:01:07.459" v="4102"/>
          <ac:spMkLst>
            <pc:docMk/>
            <pc:sldMk cId="414790727" sldId="256"/>
            <ac:spMk id="5" creationId="{A6B6119C-003C-BA74-36DE-DEF10BA4E37E}"/>
          </ac:spMkLst>
        </pc:spChg>
        <pc:spChg chg="add del mod modVis">
          <ac:chgData name="Schleicher, Keith" userId="884556d8-3218-47e5-8867-331bdb0fe637" providerId="ADAL" clId="{5F36FADA-656D-4DB6-B22C-4E0865A45C88}" dt="2024-08-08T20:35:02.967" v="90"/>
          <ac:spMkLst>
            <pc:docMk/>
            <pc:sldMk cId="414790727" sldId="256"/>
            <ac:spMk id="8" creationId="{E3D28735-A16E-C679-7D23-D82E12EACE1D}"/>
          </ac:spMkLst>
        </pc:spChg>
        <pc:spChg chg="add del mod modVis">
          <ac:chgData name="Schleicher, Keith" userId="884556d8-3218-47e5-8867-331bdb0fe637" providerId="ADAL" clId="{5F36FADA-656D-4DB6-B22C-4E0865A45C88}" dt="2024-08-08T20:35:07.769" v="199"/>
          <ac:spMkLst>
            <pc:docMk/>
            <pc:sldMk cId="414790727" sldId="256"/>
            <ac:spMk id="9" creationId="{60CB2458-F427-A554-3015-2ECD160D72DE}"/>
          </ac:spMkLst>
        </pc:spChg>
        <pc:spChg chg="add del mod modVis">
          <ac:chgData name="Schleicher, Keith" userId="884556d8-3218-47e5-8867-331bdb0fe637" providerId="ADAL" clId="{5F36FADA-656D-4DB6-B22C-4E0865A45C88}" dt="2024-08-08T20:35:10.219" v="308"/>
          <ac:spMkLst>
            <pc:docMk/>
            <pc:sldMk cId="414790727" sldId="256"/>
            <ac:spMk id="10" creationId="{7D233358-13C7-3C48-4835-CC731937CC4D}"/>
          </ac:spMkLst>
        </pc:spChg>
        <pc:spChg chg="add del mod modVis">
          <ac:chgData name="Schleicher, Keith" userId="884556d8-3218-47e5-8867-331bdb0fe637" providerId="ADAL" clId="{5F36FADA-656D-4DB6-B22C-4E0865A45C88}" dt="2024-08-09T19:19:18.071" v="391"/>
          <ac:spMkLst>
            <pc:docMk/>
            <pc:sldMk cId="414790727" sldId="256"/>
            <ac:spMk id="11" creationId="{AE6CBFCD-DB48-E4B0-A791-4BFE0831F1DB}"/>
          </ac:spMkLst>
        </pc:spChg>
        <pc:spChg chg="add del mod modVis">
          <ac:chgData name="Schleicher, Keith" userId="884556d8-3218-47e5-8867-331bdb0fe637" providerId="ADAL" clId="{5F36FADA-656D-4DB6-B22C-4E0865A45C88}" dt="2024-08-09T19:19:20.289" v="428"/>
          <ac:spMkLst>
            <pc:docMk/>
            <pc:sldMk cId="414790727" sldId="256"/>
            <ac:spMk id="12" creationId="{BF491558-01F8-1AA5-8E51-AE1756D46255}"/>
          </ac:spMkLst>
        </pc:spChg>
        <pc:spChg chg="add del mod modVis">
          <ac:chgData name="Schleicher, Keith" userId="884556d8-3218-47e5-8867-331bdb0fe637" providerId="ADAL" clId="{5F36FADA-656D-4DB6-B22C-4E0865A45C88}" dt="2024-08-09T19:19:21.793" v="460"/>
          <ac:spMkLst>
            <pc:docMk/>
            <pc:sldMk cId="414790727" sldId="256"/>
            <ac:spMk id="13" creationId="{E7105FE6-AD13-D8B3-990A-DB173F1AF6A1}"/>
          </ac:spMkLst>
        </pc:spChg>
        <pc:spChg chg="add del mod modVis">
          <ac:chgData name="Schleicher, Keith" userId="884556d8-3218-47e5-8867-331bdb0fe637" providerId="ADAL" clId="{5F36FADA-656D-4DB6-B22C-4E0865A45C88}" dt="2024-08-09T19:19:24.903" v="500"/>
          <ac:spMkLst>
            <pc:docMk/>
            <pc:sldMk cId="414790727" sldId="256"/>
            <ac:spMk id="14" creationId="{233B8987-648D-FE70-D888-9940AE43DDB7}"/>
          </ac:spMkLst>
        </pc:spChg>
        <pc:spChg chg="add del mod modVis">
          <ac:chgData name="Schleicher, Keith" userId="884556d8-3218-47e5-8867-331bdb0fe637" providerId="ADAL" clId="{5F36FADA-656D-4DB6-B22C-4E0865A45C88}" dt="2024-08-09T19:19:26.583" v="535"/>
          <ac:spMkLst>
            <pc:docMk/>
            <pc:sldMk cId="414790727" sldId="256"/>
            <ac:spMk id="15" creationId="{77092D5C-E626-BAE1-FA8D-CEAFD896DF0C}"/>
          </ac:spMkLst>
        </pc:spChg>
        <pc:spChg chg="add del mod modVis">
          <ac:chgData name="Schleicher, Keith" userId="884556d8-3218-47e5-8867-331bdb0fe637" providerId="ADAL" clId="{5F36FADA-656D-4DB6-B22C-4E0865A45C88}" dt="2024-08-09T19:19:28.340" v="568"/>
          <ac:spMkLst>
            <pc:docMk/>
            <pc:sldMk cId="414790727" sldId="256"/>
            <ac:spMk id="16" creationId="{6BC3996F-6BA8-631C-59B8-7376C17D9E5D}"/>
          </ac:spMkLst>
        </pc:spChg>
        <pc:spChg chg="add del mod modVis">
          <ac:chgData name="Schleicher, Keith" userId="884556d8-3218-47e5-8867-331bdb0fe637" providerId="ADAL" clId="{5F36FADA-656D-4DB6-B22C-4E0865A45C88}" dt="2024-08-09T19:25:04.559" v="632"/>
          <ac:spMkLst>
            <pc:docMk/>
            <pc:sldMk cId="414790727" sldId="256"/>
            <ac:spMk id="17" creationId="{8C0EBB56-BA84-5A83-8670-8CA0AB4C48D8}"/>
          </ac:spMkLst>
        </pc:spChg>
        <pc:spChg chg="add del mod modVis">
          <ac:chgData name="Schleicher, Keith" userId="884556d8-3218-47e5-8867-331bdb0fe637" providerId="ADAL" clId="{5F36FADA-656D-4DB6-B22C-4E0865A45C88}" dt="2024-08-09T19:25:05.937" v="663"/>
          <ac:spMkLst>
            <pc:docMk/>
            <pc:sldMk cId="414790727" sldId="256"/>
            <ac:spMk id="18" creationId="{4338650D-DFAC-D0CC-D7E1-B8B3E7C78219}"/>
          </ac:spMkLst>
        </pc:spChg>
        <pc:spChg chg="add del mod modVis">
          <ac:chgData name="Schleicher, Keith" userId="884556d8-3218-47e5-8867-331bdb0fe637" providerId="ADAL" clId="{5F36FADA-656D-4DB6-B22C-4E0865A45C88}" dt="2024-08-09T19:25:11.245" v="709"/>
          <ac:spMkLst>
            <pc:docMk/>
            <pc:sldMk cId="414790727" sldId="256"/>
            <ac:spMk id="19" creationId="{BD8BAF95-C383-831B-E273-DD25C869D811}"/>
          </ac:spMkLst>
        </pc:spChg>
        <pc:spChg chg="add del mod modVis">
          <ac:chgData name="Schleicher, Keith" userId="884556d8-3218-47e5-8867-331bdb0fe637" providerId="ADAL" clId="{5F36FADA-656D-4DB6-B22C-4E0865A45C88}" dt="2024-08-09T19:25:11.857" v="738"/>
          <ac:spMkLst>
            <pc:docMk/>
            <pc:sldMk cId="414790727" sldId="256"/>
            <ac:spMk id="20" creationId="{005F0560-96D9-DEE9-52BA-1BCF36809CC5}"/>
          </ac:spMkLst>
        </pc:spChg>
        <pc:spChg chg="add del mod modVis">
          <ac:chgData name="Schleicher, Keith" userId="884556d8-3218-47e5-8867-331bdb0fe637" providerId="ADAL" clId="{5F36FADA-656D-4DB6-B22C-4E0865A45C88}" dt="2024-08-09T19:25:13.269" v="766"/>
          <ac:spMkLst>
            <pc:docMk/>
            <pc:sldMk cId="414790727" sldId="256"/>
            <ac:spMk id="21" creationId="{E4D0F64D-7A97-AA57-8255-D66F7EF7D75B}"/>
          </ac:spMkLst>
        </pc:spChg>
        <pc:graphicFrameChg chg="mod">
          <ac:chgData name="Schleicher, Keith" userId="884556d8-3218-47e5-8867-331bdb0fe637" providerId="ADAL" clId="{5F36FADA-656D-4DB6-B22C-4E0865A45C88}" dt="2024-08-26T20:01:07.475" v="4104"/>
          <ac:graphicFrameMkLst>
            <pc:docMk/>
            <pc:sldMk cId="414790727" sldId="256"/>
            <ac:graphicFrameMk id="4" creationId="{D4681789-6C51-66C5-5E15-5394B1508B2C}"/>
          </ac:graphicFrameMkLst>
        </pc:graphicFrameChg>
      </pc:sldChg>
      <pc:sldChg chg="modSp mod">
        <pc:chgData name="Schleicher, Keith" userId="884556d8-3218-47e5-8867-331bdb0fe637" providerId="ADAL" clId="{5F36FADA-656D-4DB6-B22C-4E0865A45C88}" dt="2024-09-23T13:46:24.343" v="9873" actId="313"/>
        <pc:sldMkLst>
          <pc:docMk/>
          <pc:sldMk cId="521203714" sldId="257"/>
        </pc:sldMkLst>
        <pc:spChg chg="mod">
          <ac:chgData name="Schleicher, Keith" userId="884556d8-3218-47e5-8867-331bdb0fe637" providerId="ADAL" clId="{5F36FADA-656D-4DB6-B22C-4E0865A45C88}" dt="2024-08-26T20:01:07.239" v="3901" actId="948"/>
          <ac:spMkLst>
            <pc:docMk/>
            <pc:sldMk cId="521203714" sldId="257"/>
            <ac:spMk id="2" creationId="{06A5D9E4-D35E-0E6E-4DCA-2941F7353487}"/>
          </ac:spMkLst>
        </pc:spChg>
        <pc:spChg chg="mod">
          <ac:chgData name="Schleicher, Keith" userId="884556d8-3218-47e5-8867-331bdb0fe637" providerId="ADAL" clId="{5F36FADA-656D-4DB6-B22C-4E0865A45C88}" dt="2024-09-23T13:46:24.343" v="9873" actId="313"/>
          <ac:spMkLst>
            <pc:docMk/>
            <pc:sldMk cId="521203714" sldId="257"/>
            <ac:spMk id="3" creationId="{7C264D92-6BC5-AB50-E38A-9C006DA821CB}"/>
          </ac:spMkLst>
        </pc:spChg>
        <pc:graphicFrameChg chg="mod">
          <ac:chgData name="Schleicher, Keith" userId="884556d8-3218-47e5-8867-331bdb0fe637" providerId="ADAL" clId="{5F36FADA-656D-4DB6-B22C-4E0865A45C88}" dt="2024-08-26T20:01:07.459" v="4096"/>
          <ac:graphicFrameMkLst>
            <pc:docMk/>
            <pc:sldMk cId="521203714" sldId="257"/>
            <ac:graphicFrameMk id="4" creationId="{E21F4837-7883-FA02-34AC-0497A79F10D2}"/>
          </ac:graphicFrameMkLst>
        </pc:graphicFrameChg>
      </pc:sldChg>
      <pc:sldChg chg="addSp delSp modSp mod">
        <pc:chgData name="Schleicher, Keith" userId="884556d8-3218-47e5-8867-331bdb0fe637" providerId="ADAL" clId="{5F36FADA-656D-4DB6-B22C-4E0865A45C88}" dt="2024-08-26T20:01:07.475" v="4106"/>
        <pc:sldMkLst>
          <pc:docMk/>
          <pc:sldMk cId="2539441571" sldId="258"/>
        </pc:sldMkLst>
        <pc:spChg chg="mod">
          <ac:chgData name="Schleicher, Keith" userId="884556d8-3218-47e5-8867-331bdb0fe637" providerId="ADAL" clId="{5F36FADA-656D-4DB6-B22C-4E0865A45C88}" dt="2024-08-26T20:01:07.302" v="3944" actId="948"/>
          <ac:spMkLst>
            <pc:docMk/>
            <pc:sldMk cId="2539441571" sldId="258"/>
            <ac:spMk id="2" creationId="{B19CA379-2333-6CA4-AB06-1AD160CB572C}"/>
          </ac:spMkLst>
        </pc:spChg>
        <pc:spChg chg="del mod">
          <ac:chgData name="Schleicher, Keith" userId="884556d8-3218-47e5-8867-331bdb0fe637" providerId="ADAL" clId="{5F36FADA-656D-4DB6-B22C-4E0865A45C88}" dt="2024-08-09T19:45:37.351" v="771" actId="478"/>
          <ac:spMkLst>
            <pc:docMk/>
            <pc:sldMk cId="2539441571" sldId="258"/>
            <ac:spMk id="3" creationId="{6CF16A36-E666-F7E5-1976-A0FB14B2071A}"/>
          </ac:spMkLst>
        </pc:spChg>
        <pc:spChg chg="mod">
          <ac:chgData name="Schleicher, Keith" userId="884556d8-3218-47e5-8867-331bdb0fe637" providerId="ADAL" clId="{5F36FADA-656D-4DB6-B22C-4E0865A45C88}" dt="2024-08-09T19:48:33.556" v="1040" actId="20577"/>
          <ac:spMkLst>
            <pc:docMk/>
            <pc:sldMk cId="2539441571" sldId="258"/>
            <ac:spMk id="4" creationId="{9AA2C543-9962-6021-8B85-95C4DC9D55DB}"/>
          </ac:spMkLst>
        </pc:spChg>
        <pc:spChg chg="add del mod">
          <ac:chgData name="Schleicher, Keith" userId="884556d8-3218-47e5-8867-331bdb0fe637" providerId="ADAL" clId="{5F36FADA-656D-4DB6-B22C-4E0865A45C88}" dt="2024-08-09T19:45:43.199" v="772" actId="478"/>
          <ac:spMkLst>
            <pc:docMk/>
            <pc:sldMk cId="2539441571" sldId="258"/>
            <ac:spMk id="15" creationId="{160DEFD5-645F-F186-FC8B-82A9C0DB8036}"/>
          </ac:spMkLst>
        </pc:spChg>
        <pc:graphicFrameChg chg="mod">
          <ac:chgData name="Schleicher, Keith" userId="884556d8-3218-47e5-8867-331bdb0fe637" providerId="ADAL" clId="{5F36FADA-656D-4DB6-B22C-4E0865A45C88}" dt="2024-08-26T20:01:07.475" v="4106"/>
          <ac:graphicFrameMkLst>
            <pc:docMk/>
            <pc:sldMk cId="2539441571" sldId="258"/>
            <ac:graphicFrameMk id="6" creationId="{F678FCBB-E387-B75B-670C-33510273F444}"/>
          </ac:graphicFrameMkLst>
        </pc:graphicFrameChg>
        <pc:picChg chg="add mod">
          <ac:chgData name="Schleicher, Keith" userId="884556d8-3218-47e5-8867-331bdb0fe637" providerId="ADAL" clId="{5F36FADA-656D-4DB6-B22C-4E0865A45C88}" dt="2024-08-09T19:45:49.744" v="775" actId="1076"/>
          <ac:picMkLst>
            <pc:docMk/>
            <pc:sldMk cId="2539441571" sldId="258"/>
            <ac:picMk id="13" creationId="{897EBA28-FE00-72F2-4D55-0A15EAE5A38A}"/>
          </ac:picMkLst>
        </pc:picChg>
      </pc:sldChg>
      <pc:sldChg chg="addSp delSp modSp mod modClrScheme chgLayout">
        <pc:chgData name="Schleicher, Keith" userId="884556d8-3218-47e5-8867-331bdb0fe637" providerId="ADAL" clId="{5F36FADA-656D-4DB6-B22C-4E0865A45C88}" dt="2024-08-28T21:49:59.704" v="8886" actId="20577"/>
        <pc:sldMkLst>
          <pc:docMk/>
          <pc:sldMk cId="3086187693" sldId="259"/>
        </pc:sldMkLst>
        <pc:spChg chg="mod ord">
          <ac:chgData name="Schleicher, Keith" userId="884556d8-3218-47e5-8867-331bdb0fe637" providerId="ADAL" clId="{5F36FADA-656D-4DB6-B22C-4E0865A45C88}" dt="2024-08-28T21:36:28.299" v="8322" actId="948"/>
          <ac:spMkLst>
            <pc:docMk/>
            <pc:sldMk cId="3086187693" sldId="259"/>
            <ac:spMk id="2" creationId="{1970AA2F-5138-39D5-BA97-5F9FE6F4CE90}"/>
          </ac:spMkLst>
        </pc:spChg>
        <pc:spChg chg="add del mod modVis">
          <ac:chgData name="Schleicher, Keith" userId="884556d8-3218-47e5-8867-331bdb0fe637" providerId="ADAL" clId="{5F36FADA-656D-4DB6-B22C-4E0865A45C88}" dt="2024-08-26T20:01:07.475" v="4112"/>
          <ac:spMkLst>
            <pc:docMk/>
            <pc:sldMk cId="3086187693" sldId="259"/>
            <ac:spMk id="4" creationId="{1F869CFC-5044-DE1B-3475-FD4AF054D382}"/>
          </ac:spMkLst>
        </pc:spChg>
        <pc:spChg chg="add del mod ord">
          <ac:chgData name="Schleicher, Keith" userId="884556d8-3218-47e5-8867-331bdb0fe637" providerId="ADAL" clId="{5F36FADA-656D-4DB6-B22C-4E0865A45C88}" dt="2024-08-28T21:47:13.335" v="8472" actId="478"/>
          <ac:spMkLst>
            <pc:docMk/>
            <pc:sldMk cId="3086187693" sldId="259"/>
            <ac:spMk id="5" creationId="{6131311B-8684-9DAB-8782-873633498A54}"/>
          </ac:spMkLst>
        </pc:spChg>
        <pc:spChg chg="add del mod ord">
          <ac:chgData name="Schleicher, Keith" userId="884556d8-3218-47e5-8867-331bdb0fe637" providerId="ADAL" clId="{5F36FADA-656D-4DB6-B22C-4E0865A45C88}" dt="2024-08-28T21:47:13.335" v="8472" actId="478"/>
          <ac:spMkLst>
            <pc:docMk/>
            <pc:sldMk cId="3086187693" sldId="259"/>
            <ac:spMk id="6" creationId="{EB0D86DA-7EF2-02D7-2B42-3B2A62ED6359}"/>
          </ac:spMkLst>
        </pc:spChg>
        <pc:spChg chg="add del mod ord">
          <ac:chgData name="Schleicher, Keith" userId="884556d8-3218-47e5-8867-331bdb0fe637" providerId="ADAL" clId="{5F36FADA-656D-4DB6-B22C-4E0865A45C88}" dt="2024-08-28T21:47:13.335" v="8472" actId="478"/>
          <ac:spMkLst>
            <pc:docMk/>
            <pc:sldMk cId="3086187693" sldId="259"/>
            <ac:spMk id="7" creationId="{28DFFB89-1331-8AE2-C70C-C929344DB6DC}"/>
          </ac:spMkLst>
        </pc:spChg>
        <pc:spChg chg="add del mod modVis">
          <ac:chgData name="Schleicher, Keith" userId="884556d8-3218-47e5-8867-331bdb0fe637" providerId="ADAL" clId="{5F36FADA-656D-4DB6-B22C-4E0865A45C88}" dt="2024-08-08T20:35:02.967" v="94"/>
          <ac:spMkLst>
            <pc:docMk/>
            <pc:sldMk cId="3086187693" sldId="259"/>
            <ac:spMk id="8" creationId="{2060AFD9-7C30-8781-4BD5-081A316E1C36}"/>
          </ac:spMkLst>
        </pc:spChg>
        <pc:spChg chg="add del mod ord">
          <ac:chgData name="Schleicher, Keith" userId="884556d8-3218-47e5-8867-331bdb0fe637" providerId="ADAL" clId="{5F36FADA-656D-4DB6-B22C-4E0865A45C88}" dt="2024-08-28T21:37:07.303" v="8327"/>
          <ac:spMkLst>
            <pc:docMk/>
            <pc:sldMk cId="3086187693" sldId="259"/>
            <ac:spMk id="8" creationId="{94329C24-35D0-0A30-2A7E-83E26E2E9CC6}"/>
          </ac:spMkLst>
        </pc:spChg>
        <pc:spChg chg="add mod ord">
          <ac:chgData name="Schleicher, Keith" userId="884556d8-3218-47e5-8867-331bdb0fe637" providerId="ADAL" clId="{5F36FADA-656D-4DB6-B22C-4E0865A45C88}" dt="2024-08-28T21:47:57.390" v="8576" actId="255"/>
          <ac:spMkLst>
            <pc:docMk/>
            <pc:sldMk cId="3086187693" sldId="259"/>
            <ac:spMk id="9" creationId="{8475F25D-8CA7-B16F-3E4D-365E8EDEEF1A}"/>
          </ac:spMkLst>
        </pc:spChg>
        <pc:spChg chg="add del mod modVis">
          <ac:chgData name="Schleicher, Keith" userId="884556d8-3218-47e5-8867-331bdb0fe637" providerId="ADAL" clId="{5F36FADA-656D-4DB6-B22C-4E0865A45C88}" dt="2024-08-08T20:35:07.776" v="203"/>
          <ac:spMkLst>
            <pc:docMk/>
            <pc:sldMk cId="3086187693" sldId="259"/>
            <ac:spMk id="9" creationId="{B278A1D0-D868-6479-8491-349F17C9E366}"/>
          </ac:spMkLst>
        </pc:spChg>
        <pc:spChg chg="add mod ord">
          <ac:chgData name="Schleicher, Keith" userId="884556d8-3218-47e5-8867-331bdb0fe637" providerId="ADAL" clId="{5F36FADA-656D-4DB6-B22C-4E0865A45C88}" dt="2024-08-28T21:48:58.152" v="8763" actId="20577"/>
          <ac:spMkLst>
            <pc:docMk/>
            <pc:sldMk cId="3086187693" sldId="259"/>
            <ac:spMk id="10" creationId="{8FEB85F5-0AAA-1D7A-F2C4-6D84464E0B8B}"/>
          </ac:spMkLst>
        </pc:spChg>
        <pc:spChg chg="add del mod modVis">
          <ac:chgData name="Schleicher, Keith" userId="884556d8-3218-47e5-8867-331bdb0fe637" providerId="ADAL" clId="{5F36FADA-656D-4DB6-B22C-4E0865A45C88}" dt="2024-08-08T20:35:10.234" v="312"/>
          <ac:spMkLst>
            <pc:docMk/>
            <pc:sldMk cId="3086187693" sldId="259"/>
            <ac:spMk id="10" creationId="{D5A0A49B-61CE-7E51-4FC3-C6D9F2A58DA0}"/>
          </ac:spMkLst>
        </pc:spChg>
        <pc:spChg chg="add mod ord">
          <ac:chgData name="Schleicher, Keith" userId="884556d8-3218-47e5-8867-331bdb0fe637" providerId="ADAL" clId="{5F36FADA-656D-4DB6-B22C-4E0865A45C88}" dt="2024-08-28T21:49:59.704" v="8886" actId="20577"/>
          <ac:spMkLst>
            <pc:docMk/>
            <pc:sldMk cId="3086187693" sldId="259"/>
            <ac:spMk id="11" creationId="{878C7B19-5817-3713-14ED-F8D758AE9DD9}"/>
          </ac:spMkLst>
        </pc:spChg>
        <pc:spChg chg="add del mod ord">
          <ac:chgData name="Schleicher, Keith" userId="884556d8-3218-47e5-8867-331bdb0fe637" providerId="ADAL" clId="{5F36FADA-656D-4DB6-B22C-4E0865A45C88}" dt="2024-08-28T21:40:08.012" v="8329" actId="931"/>
          <ac:spMkLst>
            <pc:docMk/>
            <pc:sldMk cId="3086187693" sldId="259"/>
            <ac:spMk id="12" creationId="{72F210B9-AAE0-B644-AAB6-DD7AF29D0D7F}"/>
          </ac:spMkLst>
        </pc:spChg>
        <pc:spChg chg="add del mod ord">
          <ac:chgData name="Schleicher, Keith" userId="884556d8-3218-47e5-8867-331bdb0fe637" providerId="ADAL" clId="{5F36FADA-656D-4DB6-B22C-4E0865A45C88}" dt="2024-08-28T21:37:52.434" v="8328"/>
          <ac:spMkLst>
            <pc:docMk/>
            <pc:sldMk cId="3086187693" sldId="259"/>
            <ac:spMk id="13" creationId="{958C04FB-BC94-B51A-22D5-FDCB8E49EFD4}"/>
          </ac:spMkLst>
        </pc:spChg>
        <pc:spChg chg="add del mod">
          <ac:chgData name="Schleicher, Keith" userId="884556d8-3218-47e5-8867-331bdb0fe637" providerId="ADAL" clId="{5F36FADA-656D-4DB6-B22C-4E0865A45C88}" dt="2024-08-28T21:42:44.838" v="8334" actId="931"/>
          <ac:spMkLst>
            <pc:docMk/>
            <pc:sldMk cId="3086187693" sldId="259"/>
            <ac:spMk id="19" creationId="{DE00A16D-1BE9-00B0-5EE7-34489014D4E0}"/>
          </ac:spMkLst>
        </pc:spChg>
        <pc:spChg chg="add del mod">
          <ac:chgData name="Schleicher, Keith" userId="884556d8-3218-47e5-8867-331bdb0fe637" providerId="ADAL" clId="{5F36FADA-656D-4DB6-B22C-4E0865A45C88}" dt="2024-08-28T21:44:46.529" v="8379"/>
          <ac:spMkLst>
            <pc:docMk/>
            <pc:sldMk cId="3086187693" sldId="259"/>
            <ac:spMk id="23" creationId="{5EE202E2-9D1C-A614-7EDB-705295F230CD}"/>
          </ac:spMkLst>
        </pc:spChg>
        <pc:spChg chg="add del mod">
          <ac:chgData name="Schleicher, Keith" userId="884556d8-3218-47e5-8867-331bdb0fe637" providerId="ADAL" clId="{5F36FADA-656D-4DB6-B22C-4E0865A45C88}" dt="2024-08-28T21:45:22.345" v="8381"/>
          <ac:spMkLst>
            <pc:docMk/>
            <pc:sldMk cId="3086187693" sldId="259"/>
            <ac:spMk id="26" creationId="{464EB4EC-97C6-8A58-188F-CF1465A51AA7}"/>
          </ac:spMkLst>
        </pc:spChg>
        <pc:graphicFrameChg chg="mod">
          <ac:chgData name="Schleicher, Keith" userId="884556d8-3218-47e5-8867-331bdb0fe637" providerId="ADAL" clId="{5F36FADA-656D-4DB6-B22C-4E0865A45C88}" dt="2024-08-28T21:36:28.314" v="8326"/>
          <ac:graphicFrameMkLst>
            <pc:docMk/>
            <pc:sldMk cId="3086187693" sldId="259"/>
            <ac:graphicFrameMk id="3" creationId="{F88E9C2B-6E3E-8363-0CCB-51AC45AC1F3C}"/>
          </ac:graphicFrameMkLst>
        </pc:graphicFrameChg>
        <pc:picChg chg="add mod">
          <ac:chgData name="Schleicher, Keith" userId="884556d8-3218-47e5-8867-331bdb0fe637" providerId="ADAL" clId="{5F36FADA-656D-4DB6-B22C-4E0865A45C88}" dt="2024-08-28T21:47:03.828" v="8471" actId="1038"/>
          <ac:picMkLst>
            <pc:docMk/>
            <pc:sldMk cId="3086187693" sldId="259"/>
            <ac:picMk id="14" creationId="{92810273-FC02-1F4A-5C22-FEC30197464E}"/>
          </ac:picMkLst>
        </pc:picChg>
        <pc:picChg chg="add mod">
          <ac:chgData name="Schleicher, Keith" userId="884556d8-3218-47e5-8867-331bdb0fe637" providerId="ADAL" clId="{5F36FADA-656D-4DB6-B22C-4E0865A45C88}" dt="2024-08-28T21:47:03.828" v="8471" actId="1038"/>
          <ac:picMkLst>
            <pc:docMk/>
            <pc:sldMk cId="3086187693" sldId="259"/>
            <ac:picMk id="15" creationId="{28933B57-1882-664B-B45F-01040CB695CB}"/>
          </ac:picMkLst>
        </pc:picChg>
        <pc:picChg chg="add del mod">
          <ac:chgData name="Schleicher, Keith" userId="884556d8-3218-47e5-8867-331bdb0fe637" providerId="ADAL" clId="{5F36FADA-656D-4DB6-B22C-4E0865A45C88}" dt="2024-08-28T21:40:26.706" v="8333" actId="478"/>
          <ac:picMkLst>
            <pc:docMk/>
            <pc:sldMk cId="3086187693" sldId="259"/>
            <ac:picMk id="17" creationId="{E07B60EA-387D-D822-7048-37772F79290C}"/>
          </ac:picMkLst>
        </pc:picChg>
        <pc:picChg chg="add del mod">
          <ac:chgData name="Schleicher, Keith" userId="884556d8-3218-47e5-8867-331bdb0fe637" providerId="ADAL" clId="{5F36FADA-656D-4DB6-B22C-4E0865A45C88}" dt="2024-08-28T21:43:43.310" v="8378" actId="478"/>
          <ac:picMkLst>
            <pc:docMk/>
            <pc:sldMk cId="3086187693" sldId="259"/>
            <ac:picMk id="21" creationId="{721C1887-648E-E9AC-ECB6-25E0AB571B25}"/>
          </ac:picMkLst>
        </pc:picChg>
        <pc:picChg chg="add del mod">
          <ac:chgData name="Schleicher, Keith" userId="884556d8-3218-47e5-8867-331bdb0fe637" providerId="ADAL" clId="{5F36FADA-656D-4DB6-B22C-4E0865A45C88}" dt="2024-08-28T21:45:18.414" v="8380" actId="478"/>
          <ac:picMkLst>
            <pc:docMk/>
            <pc:sldMk cId="3086187693" sldId="259"/>
            <ac:picMk id="24" creationId="{5A2F4207-D252-EF76-ADD2-34BF0A76AF9D}"/>
          </ac:picMkLst>
        </pc:picChg>
        <pc:picChg chg="add mod modCrop">
          <ac:chgData name="Schleicher, Keith" userId="884556d8-3218-47e5-8867-331bdb0fe637" providerId="ADAL" clId="{5F36FADA-656D-4DB6-B22C-4E0865A45C88}" dt="2024-08-28T21:46:57.015" v="8458" actId="1035"/>
          <ac:picMkLst>
            <pc:docMk/>
            <pc:sldMk cId="3086187693" sldId="259"/>
            <ac:picMk id="27" creationId="{A127350A-F83C-CBE9-367A-5F1F4464CBDC}"/>
          </ac:picMkLst>
        </pc:picChg>
      </pc:sldChg>
      <pc:sldChg chg="addSp delSp modSp mod">
        <pc:chgData name="Schleicher, Keith" userId="884556d8-3218-47e5-8867-331bdb0fe637" providerId="ADAL" clId="{5F36FADA-656D-4DB6-B22C-4E0865A45C88}" dt="2024-08-27T18:28:50.190" v="4843" actId="1037"/>
        <pc:sldMkLst>
          <pc:docMk/>
          <pc:sldMk cId="1141028114" sldId="260"/>
        </pc:sldMkLst>
        <pc:spChg chg="mod">
          <ac:chgData name="Schleicher, Keith" userId="884556d8-3218-47e5-8867-331bdb0fe637" providerId="ADAL" clId="{5F36FADA-656D-4DB6-B22C-4E0865A45C88}" dt="2024-08-27T18:28:21.248" v="4829" actId="948"/>
          <ac:spMkLst>
            <pc:docMk/>
            <pc:sldMk cId="1141028114" sldId="260"/>
            <ac:spMk id="2" creationId="{D8D5D251-B01D-FE54-9B66-2C368579E172}"/>
          </ac:spMkLst>
        </pc:spChg>
        <pc:spChg chg="add del mod modVis">
          <ac:chgData name="Schleicher, Keith" userId="884556d8-3218-47e5-8867-331bdb0fe637" providerId="ADAL" clId="{5F36FADA-656D-4DB6-B22C-4E0865A45C88}" dt="2024-08-26T20:01:07.459" v="4098"/>
          <ac:spMkLst>
            <pc:docMk/>
            <pc:sldMk cId="1141028114" sldId="260"/>
            <ac:spMk id="4" creationId="{11473684-B28E-C511-7AAE-D1EB38946610}"/>
          </ac:spMkLst>
        </pc:spChg>
        <pc:spChg chg="add del mod modVis">
          <ac:chgData name="Schleicher, Keith" userId="884556d8-3218-47e5-8867-331bdb0fe637" providerId="ADAL" clId="{5F36FADA-656D-4DB6-B22C-4E0865A45C88}" dt="2024-08-27T18:22:00.081" v="4776"/>
          <ac:spMkLst>
            <pc:docMk/>
            <pc:sldMk cId="1141028114" sldId="260"/>
            <ac:spMk id="7" creationId="{1502C3BE-69D0-E153-D7FA-E7C7F017C68E}"/>
          </ac:spMkLst>
        </pc:spChg>
        <pc:spChg chg="add del mod modVis">
          <ac:chgData name="Schleicher, Keith" userId="884556d8-3218-47e5-8867-331bdb0fe637" providerId="ADAL" clId="{5F36FADA-656D-4DB6-B22C-4E0865A45C88}" dt="2024-08-08T20:35:02.982" v="104"/>
          <ac:spMkLst>
            <pc:docMk/>
            <pc:sldMk cId="1141028114" sldId="260"/>
            <ac:spMk id="8" creationId="{857EDBAD-B9E9-0670-13A2-B23139B4A94B}"/>
          </ac:spMkLst>
        </pc:spChg>
        <pc:spChg chg="add mod">
          <ac:chgData name="Schleicher, Keith" userId="884556d8-3218-47e5-8867-331bdb0fe637" providerId="ADAL" clId="{5F36FADA-656D-4DB6-B22C-4E0865A45C88}" dt="2024-08-27T18:28:10.945" v="4827" actId="20577"/>
          <ac:spMkLst>
            <pc:docMk/>
            <pc:sldMk cId="1141028114" sldId="260"/>
            <ac:spMk id="8" creationId="{E1720B23-0B3E-DD1C-E684-771DB908C926}"/>
          </ac:spMkLst>
        </pc:spChg>
        <pc:spChg chg="add del mod modVis">
          <ac:chgData name="Schleicher, Keith" userId="884556d8-3218-47e5-8867-331bdb0fe637" providerId="ADAL" clId="{5F36FADA-656D-4DB6-B22C-4E0865A45C88}" dt="2024-08-08T20:35:07.785" v="213"/>
          <ac:spMkLst>
            <pc:docMk/>
            <pc:sldMk cId="1141028114" sldId="260"/>
            <ac:spMk id="9" creationId="{28DA0883-5CE4-8731-B032-03758796E30B}"/>
          </ac:spMkLst>
        </pc:spChg>
        <pc:spChg chg="add del mod modVis">
          <ac:chgData name="Schleicher, Keith" userId="884556d8-3218-47e5-8867-331bdb0fe637" providerId="ADAL" clId="{5F36FADA-656D-4DB6-B22C-4E0865A45C88}" dt="2024-08-08T20:35:10.234" v="322"/>
          <ac:spMkLst>
            <pc:docMk/>
            <pc:sldMk cId="1141028114" sldId="260"/>
            <ac:spMk id="10" creationId="{6D1EBB62-A010-9F8B-1509-BCD1E7B0E6D7}"/>
          </ac:spMkLst>
        </pc:spChg>
        <pc:graphicFrameChg chg="mod">
          <ac:chgData name="Schleicher, Keith" userId="884556d8-3218-47e5-8867-331bdb0fe637" providerId="ADAL" clId="{5F36FADA-656D-4DB6-B22C-4E0865A45C88}" dt="2024-08-27T18:28:21.256" v="4833"/>
          <ac:graphicFrameMkLst>
            <pc:docMk/>
            <pc:sldMk cId="1141028114" sldId="260"/>
            <ac:graphicFrameMk id="3" creationId="{1C383066-C1B7-B692-CAA7-156189C128EB}"/>
          </ac:graphicFrameMkLst>
        </pc:graphicFrameChg>
        <pc:graphicFrameChg chg="add mod modGraphic">
          <ac:chgData name="Schleicher, Keith" userId="884556d8-3218-47e5-8867-331bdb0fe637" providerId="ADAL" clId="{5F36FADA-656D-4DB6-B22C-4E0865A45C88}" dt="2024-08-27T18:28:50.190" v="4843" actId="1037"/>
          <ac:graphicFrameMkLst>
            <pc:docMk/>
            <pc:sldMk cId="1141028114" sldId="260"/>
            <ac:graphicFrameMk id="6" creationId="{EB1D99C0-185C-A83C-2BDD-01D4FEC5F1CA}"/>
          </ac:graphicFrameMkLst>
        </pc:graphicFrameChg>
        <pc:picChg chg="add del mod">
          <ac:chgData name="Schleicher, Keith" userId="884556d8-3218-47e5-8867-331bdb0fe637" providerId="ADAL" clId="{5F36FADA-656D-4DB6-B22C-4E0865A45C88}" dt="2024-08-27T18:17:37.225" v="4618" actId="478"/>
          <ac:picMkLst>
            <pc:docMk/>
            <pc:sldMk cId="1141028114" sldId="260"/>
            <ac:picMk id="5" creationId="{9A87D294-4051-327B-E43C-27D92D617D93}"/>
          </ac:picMkLst>
        </pc:picChg>
      </pc:sldChg>
      <pc:sldChg chg="modSp mod">
        <pc:chgData name="Schleicher, Keith" userId="884556d8-3218-47e5-8867-331bdb0fe637" providerId="ADAL" clId="{5F36FADA-656D-4DB6-B22C-4E0865A45C88}" dt="2024-08-26T19:03:51.277" v="1078" actId="20577"/>
        <pc:sldMkLst>
          <pc:docMk/>
          <pc:sldMk cId="2102721856" sldId="261"/>
        </pc:sldMkLst>
        <pc:spChg chg="mod">
          <ac:chgData name="Schleicher, Keith" userId="884556d8-3218-47e5-8867-331bdb0fe637" providerId="ADAL" clId="{5F36FADA-656D-4DB6-B22C-4E0865A45C88}" dt="2024-08-26T19:03:51.277" v="1078" actId="20577"/>
          <ac:spMkLst>
            <pc:docMk/>
            <pc:sldMk cId="2102721856" sldId="261"/>
            <ac:spMk id="3" creationId="{C4D0DF14-B080-3CBF-FAB4-9FD2545B6F4D}"/>
          </ac:spMkLst>
        </pc:spChg>
      </pc:sldChg>
      <pc:sldChg chg="addSp delSp modSp mod modClrScheme chgLayout">
        <pc:chgData name="Schleicher, Keith" userId="884556d8-3218-47e5-8867-331bdb0fe637" providerId="ADAL" clId="{5F36FADA-656D-4DB6-B22C-4E0865A45C88}" dt="2024-08-27T18:33:27.702" v="5148" actId="1036"/>
        <pc:sldMkLst>
          <pc:docMk/>
          <pc:sldMk cId="1110445457" sldId="262"/>
        </pc:sldMkLst>
        <pc:spChg chg="mod ord">
          <ac:chgData name="Schleicher, Keith" userId="884556d8-3218-47e5-8867-331bdb0fe637" providerId="ADAL" clId="{5F36FADA-656D-4DB6-B22C-4E0865A45C88}" dt="2024-08-27T18:32:48.434" v="5080" actId="948"/>
          <ac:spMkLst>
            <pc:docMk/>
            <pc:sldMk cId="1110445457" sldId="262"/>
            <ac:spMk id="2" creationId="{96FD8E12-BD5B-120F-DA11-3913DF31563A}"/>
          </ac:spMkLst>
        </pc:spChg>
        <pc:spChg chg="del mod ord">
          <ac:chgData name="Schleicher, Keith" userId="884556d8-3218-47e5-8867-331bdb0fe637" providerId="ADAL" clId="{5F36FADA-656D-4DB6-B22C-4E0865A45C88}" dt="2024-08-27T17:47:04.131" v="4155"/>
          <ac:spMkLst>
            <pc:docMk/>
            <pc:sldMk cId="1110445457" sldId="262"/>
            <ac:spMk id="3" creationId="{FB03185A-D4AF-72B8-DF57-0CCDBB5568A9}"/>
          </ac:spMkLst>
        </pc:spChg>
        <pc:spChg chg="add del mod modVis">
          <ac:chgData name="Schleicher, Keith" userId="884556d8-3218-47e5-8867-331bdb0fe637" providerId="ADAL" clId="{5F36FADA-656D-4DB6-B22C-4E0865A45C88}" dt="2024-08-26T20:01:07.475" v="4108"/>
          <ac:spMkLst>
            <pc:docMk/>
            <pc:sldMk cId="1110445457" sldId="262"/>
            <ac:spMk id="5" creationId="{F5C09013-27C3-91F7-B0CD-C7292B6CDFE4}"/>
          </ac:spMkLst>
        </pc:spChg>
        <pc:spChg chg="add mod ord">
          <ac:chgData name="Schleicher, Keith" userId="884556d8-3218-47e5-8867-331bdb0fe637" providerId="ADAL" clId="{5F36FADA-656D-4DB6-B22C-4E0865A45C88}" dt="2024-08-27T18:33:27.702" v="5148" actId="1036"/>
          <ac:spMkLst>
            <pc:docMk/>
            <pc:sldMk cId="1110445457" sldId="262"/>
            <ac:spMk id="6" creationId="{00ECB1C6-1268-BB2C-D47D-0B02283A1D83}"/>
          </ac:spMkLst>
        </pc:spChg>
        <pc:spChg chg="add mod ord">
          <ac:chgData name="Schleicher, Keith" userId="884556d8-3218-47e5-8867-331bdb0fe637" providerId="ADAL" clId="{5F36FADA-656D-4DB6-B22C-4E0865A45C88}" dt="2024-08-27T18:33:27.702" v="5148" actId="1036"/>
          <ac:spMkLst>
            <pc:docMk/>
            <pc:sldMk cId="1110445457" sldId="262"/>
            <ac:spMk id="7" creationId="{5E4C3544-8D52-AD4D-D596-52EB6C7E5A14}"/>
          </ac:spMkLst>
        </pc:spChg>
        <pc:spChg chg="add mod ord">
          <ac:chgData name="Schleicher, Keith" userId="884556d8-3218-47e5-8867-331bdb0fe637" providerId="ADAL" clId="{5F36FADA-656D-4DB6-B22C-4E0865A45C88}" dt="2024-08-27T18:33:27.702" v="5148" actId="1036"/>
          <ac:spMkLst>
            <pc:docMk/>
            <pc:sldMk cId="1110445457" sldId="262"/>
            <ac:spMk id="8" creationId="{5F540F7A-88EE-BD13-C027-D9B21CC149E2}"/>
          </ac:spMkLst>
        </pc:spChg>
        <pc:spChg chg="add del mod modVis">
          <ac:chgData name="Schleicher, Keith" userId="884556d8-3218-47e5-8867-331bdb0fe637" providerId="ADAL" clId="{5F36FADA-656D-4DB6-B22C-4E0865A45C88}" dt="2024-08-08T20:35:02.982" v="100"/>
          <ac:spMkLst>
            <pc:docMk/>
            <pc:sldMk cId="1110445457" sldId="262"/>
            <ac:spMk id="8" creationId="{BDAAB8CA-2CF5-2733-90E4-6A528BDC2978}"/>
          </ac:spMkLst>
        </pc:spChg>
        <pc:spChg chg="add del mod modVis">
          <ac:chgData name="Schleicher, Keith" userId="884556d8-3218-47e5-8867-331bdb0fe637" providerId="ADAL" clId="{5F36FADA-656D-4DB6-B22C-4E0865A45C88}" dt="2024-08-08T20:35:07.785" v="209"/>
          <ac:spMkLst>
            <pc:docMk/>
            <pc:sldMk cId="1110445457" sldId="262"/>
            <ac:spMk id="9" creationId="{03C0B37D-818C-DAD6-958D-0F8DB6C62AC5}"/>
          </ac:spMkLst>
        </pc:spChg>
        <pc:spChg chg="add del mod ord">
          <ac:chgData name="Schleicher, Keith" userId="884556d8-3218-47e5-8867-331bdb0fe637" providerId="ADAL" clId="{5F36FADA-656D-4DB6-B22C-4E0865A45C88}" dt="2024-08-27T18:06:15.804" v="4552" actId="931"/>
          <ac:spMkLst>
            <pc:docMk/>
            <pc:sldMk cId="1110445457" sldId="262"/>
            <ac:spMk id="9" creationId="{1AA2CD6E-9C75-E403-AB63-5F624050EB70}"/>
          </ac:spMkLst>
        </pc:spChg>
        <pc:spChg chg="add del mod modVis">
          <ac:chgData name="Schleicher, Keith" userId="884556d8-3218-47e5-8867-331bdb0fe637" providerId="ADAL" clId="{5F36FADA-656D-4DB6-B22C-4E0865A45C88}" dt="2024-08-08T20:35:10.234" v="318"/>
          <ac:spMkLst>
            <pc:docMk/>
            <pc:sldMk cId="1110445457" sldId="262"/>
            <ac:spMk id="10" creationId="{0DA50131-53BA-DAE9-D4B4-565B38F01F69}"/>
          </ac:spMkLst>
        </pc:spChg>
        <pc:spChg chg="add mod ord">
          <ac:chgData name="Schleicher, Keith" userId="884556d8-3218-47e5-8867-331bdb0fe637" providerId="ADAL" clId="{5F36FADA-656D-4DB6-B22C-4E0865A45C88}" dt="2024-08-27T18:33:27.702" v="5148" actId="1036"/>
          <ac:spMkLst>
            <pc:docMk/>
            <pc:sldMk cId="1110445457" sldId="262"/>
            <ac:spMk id="10" creationId="{B3D5DE92-A667-4AE6-C54D-9F3BDB023D47}"/>
          </ac:spMkLst>
        </pc:spChg>
        <pc:spChg chg="add mod ord">
          <ac:chgData name="Schleicher, Keith" userId="884556d8-3218-47e5-8867-331bdb0fe637" providerId="ADAL" clId="{5F36FADA-656D-4DB6-B22C-4E0865A45C88}" dt="2024-08-27T18:33:27.702" v="5148" actId="1036"/>
          <ac:spMkLst>
            <pc:docMk/>
            <pc:sldMk cId="1110445457" sldId="262"/>
            <ac:spMk id="11" creationId="{5BA6C314-66C9-C448-C78A-4FF497757D7B}"/>
          </ac:spMkLst>
        </pc:spChg>
        <pc:spChg chg="add mod ord">
          <ac:chgData name="Schleicher, Keith" userId="884556d8-3218-47e5-8867-331bdb0fe637" providerId="ADAL" clId="{5F36FADA-656D-4DB6-B22C-4E0865A45C88}" dt="2024-08-27T18:33:27.702" v="5148" actId="1036"/>
          <ac:spMkLst>
            <pc:docMk/>
            <pc:sldMk cId="1110445457" sldId="262"/>
            <ac:spMk id="12" creationId="{37FBED35-5C64-2D8C-7718-338C8F895329}"/>
          </ac:spMkLst>
        </pc:spChg>
        <pc:spChg chg="add del mod ord">
          <ac:chgData name="Schleicher, Keith" userId="884556d8-3218-47e5-8867-331bdb0fe637" providerId="ADAL" clId="{5F36FADA-656D-4DB6-B22C-4E0865A45C88}" dt="2024-08-27T18:07:21.345" v="4593" actId="478"/>
          <ac:spMkLst>
            <pc:docMk/>
            <pc:sldMk cId="1110445457" sldId="262"/>
            <ac:spMk id="13" creationId="{D23039A4-9D63-86CC-FD0C-69C09114EEFB}"/>
          </ac:spMkLst>
        </pc:spChg>
        <pc:spChg chg="add del mod ord">
          <ac:chgData name="Schleicher, Keith" userId="884556d8-3218-47e5-8867-331bdb0fe637" providerId="ADAL" clId="{5F36FADA-656D-4DB6-B22C-4E0865A45C88}" dt="2024-08-27T18:07:21.345" v="4593" actId="478"/>
          <ac:spMkLst>
            <pc:docMk/>
            <pc:sldMk cId="1110445457" sldId="262"/>
            <ac:spMk id="14" creationId="{40FC5050-3FF1-52D2-6FAE-D97FE5B08D70}"/>
          </ac:spMkLst>
        </pc:spChg>
        <pc:spChg chg="add del mod">
          <ac:chgData name="Schleicher, Keith" userId="884556d8-3218-47e5-8867-331bdb0fe637" providerId="ADAL" clId="{5F36FADA-656D-4DB6-B22C-4E0865A45C88}" dt="2024-08-27T18:07:26.245" v="4595" actId="478"/>
          <ac:spMkLst>
            <pc:docMk/>
            <pc:sldMk cId="1110445457" sldId="262"/>
            <ac:spMk id="18" creationId="{F9720B93-B854-50B2-AD28-FDD56F3864DD}"/>
          </ac:spMkLst>
        </pc:spChg>
        <pc:spChg chg="add mod">
          <ac:chgData name="Schleicher, Keith" userId="884556d8-3218-47e5-8867-331bdb0fe637" providerId="ADAL" clId="{5F36FADA-656D-4DB6-B22C-4E0865A45C88}" dt="2024-08-27T18:33:14.781" v="5117" actId="14100"/>
          <ac:spMkLst>
            <pc:docMk/>
            <pc:sldMk cId="1110445457" sldId="262"/>
            <ac:spMk id="25" creationId="{91FEA9ED-1D56-CDF6-7929-AEF2ADEAABBA}"/>
          </ac:spMkLst>
        </pc:spChg>
        <pc:spChg chg="add del mod modVis">
          <ac:chgData name="Schleicher, Keith" userId="884556d8-3218-47e5-8867-331bdb0fe637" providerId="ADAL" clId="{5F36FADA-656D-4DB6-B22C-4E0865A45C88}" dt="2024-08-27T18:32:42.670" v="4955"/>
          <ac:spMkLst>
            <pc:docMk/>
            <pc:sldMk cId="1110445457" sldId="262"/>
            <ac:spMk id="26" creationId="{FE054C18-BDA8-8BE8-4DB5-FBB98C2C1CE8}"/>
          </ac:spMkLst>
        </pc:spChg>
        <pc:spChg chg="add del mod modVis">
          <ac:chgData name="Schleicher, Keith" userId="884556d8-3218-47e5-8867-331bdb0fe637" providerId="ADAL" clId="{5F36FADA-656D-4DB6-B22C-4E0865A45C88}" dt="2024-08-27T18:32:43.216" v="4983"/>
          <ac:spMkLst>
            <pc:docMk/>
            <pc:sldMk cId="1110445457" sldId="262"/>
            <ac:spMk id="27" creationId="{709A3873-79FE-C31C-335E-89E204DB35B6}"/>
          </ac:spMkLst>
        </pc:spChg>
        <pc:spChg chg="add del mod modVis">
          <ac:chgData name="Schleicher, Keith" userId="884556d8-3218-47e5-8867-331bdb0fe637" providerId="ADAL" clId="{5F36FADA-656D-4DB6-B22C-4E0865A45C88}" dt="2024-08-27T18:32:44.649" v="5012"/>
          <ac:spMkLst>
            <pc:docMk/>
            <pc:sldMk cId="1110445457" sldId="262"/>
            <ac:spMk id="28" creationId="{FB48FA24-B25D-F54D-C6E0-2855B20ABF8F}"/>
          </ac:spMkLst>
        </pc:spChg>
        <pc:spChg chg="add del mod modVis">
          <ac:chgData name="Schleicher, Keith" userId="884556d8-3218-47e5-8867-331bdb0fe637" providerId="ADAL" clId="{5F36FADA-656D-4DB6-B22C-4E0865A45C88}" dt="2024-08-27T18:32:46.221" v="5042"/>
          <ac:spMkLst>
            <pc:docMk/>
            <pc:sldMk cId="1110445457" sldId="262"/>
            <ac:spMk id="29" creationId="{069EB706-220F-00CC-10B9-692F5B4C9880}"/>
          </ac:spMkLst>
        </pc:spChg>
        <pc:spChg chg="add del mod modVis">
          <ac:chgData name="Schleicher, Keith" userId="884556d8-3218-47e5-8867-331bdb0fe637" providerId="ADAL" clId="{5F36FADA-656D-4DB6-B22C-4E0865A45C88}" dt="2024-08-27T18:32:47.906" v="5076"/>
          <ac:spMkLst>
            <pc:docMk/>
            <pc:sldMk cId="1110445457" sldId="262"/>
            <ac:spMk id="30" creationId="{4AA4BC33-76D2-2E0D-9D2C-386190877D31}"/>
          </ac:spMkLst>
        </pc:spChg>
        <pc:spChg chg="add del mod modVis">
          <ac:chgData name="Schleicher, Keith" userId="884556d8-3218-47e5-8867-331bdb0fe637" providerId="ADAL" clId="{5F36FADA-656D-4DB6-B22C-4E0865A45C88}" dt="2024-08-27T18:32:48.457" v="5104"/>
          <ac:spMkLst>
            <pc:docMk/>
            <pc:sldMk cId="1110445457" sldId="262"/>
            <ac:spMk id="31" creationId="{BB88C3A7-F739-59CC-E252-3FEA2B5BC2E9}"/>
          </ac:spMkLst>
        </pc:spChg>
        <pc:graphicFrameChg chg="mod">
          <ac:chgData name="Schleicher, Keith" userId="884556d8-3218-47e5-8867-331bdb0fe637" providerId="ADAL" clId="{5F36FADA-656D-4DB6-B22C-4E0865A45C88}" dt="2024-08-27T18:32:48.461" v="5106"/>
          <ac:graphicFrameMkLst>
            <pc:docMk/>
            <pc:sldMk cId="1110445457" sldId="262"/>
            <ac:graphicFrameMk id="4" creationId="{F15A019C-7FD7-1DD5-8C73-A41675746E0F}"/>
          </ac:graphicFrameMkLst>
        </pc:graphicFrameChg>
        <pc:picChg chg="add del mod">
          <ac:chgData name="Schleicher, Keith" userId="884556d8-3218-47e5-8867-331bdb0fe637" providerId="ADAL" clId="{5F36FADA-656D-4DB6-B22C-4E0865A45C88}" dt="2024-08-27T18:07:21.345" v="4593" actId="478"/>
          <ac:picMkLst>
            <pc:docMk/>
            <pc:sldMk cId="1110445457" sldId="262"/>
            <ac:picMk id="16" creationId="{23CD86E4-DDB0-56D6-7AFC-71E0818412A9}"/>
          </ac:picMkLst>
        </pc:picChg>
        <pc:picChg chg="add mod">
          <ac:chgData name="Schleicher, Keith" userId="884556d8-3218-47e5-8867-331bdb0fe637" providerId="ADAL" clId="{5F36FADA-656D-4DB6-B22C-4E0865A45C88}" dt="2024-08-27T18:29:52.372" v="4878" actId="1036"/>
          <ac:picMkLst>
            <pc:docMk/>
            <pc:sldMk cId="1110445457" sldId="262"/>
            <ac:picMk id="20" creationId="{E4C34C3C-F51D-444D-22F2-7A9FCB4E720E}"/>
          </ac:picMkLst>
        </pc:picChg>
        <pc:picChg chg="add mod">
          <ac:chgData name="Schleicher, Keith" userId="884556d8-3218-47e5-8867-331bdb0fe637" providerId="ADAL" clId="{5F36FADA-656D-4DB6-B22C-4E0865A45C88}" dt="2024-08-27T18:29:52.372" v="4878" actId="1036"/>
          <ac:picMkLst>
            <pc:docMk/>
            <pc:sldMk cId="1110445457" sldId="262"/>
            <ac:picMk id="22" creationId="{A3EA177F-2BDC-1749-C588-A34B5D5491C2}"/>
          </ac:picMkLst>
        </pc:picChg>
        <pc:picChg chg="add mod">
          <ac:chgData name="Schleicher, Keith" userId="884556d8-3218-47e5-8867-331bdb0fe637" providerId="ADAL" clId="{5F36FADA-656D-4DB6-B22C-4E0865A45C88}" dt="2024-08-27T18:29:52.372" v="4878" actId="1036"/>
          <ac:picMkLst>
            <pc:docMk/>
            <pc:sldMk cId="1110445457" sldId="262"/>
            <ac:picMk id="24" creationId="{9C4794C1-5A4D-D2F7-D540-277BA110B4CB}"/>
          </ac:picMkLst>
        </pc:picChg>
      </pc:sldChg>
      <pc:sldChg chg="addSp delSp modSp new add mod">
        <pc:chgData name="Schleicher, Keith" userId="884556d8-3218-47e5-8867-331bdb0fe637" providerId="ADAL" clId="{5F36FADA-656D-4DB6-B22C-4E0865A45C88}" dt="2024-08-26T20:01:07.491" v="4120"/>
        <pc:sldMkLst>
          <pc:docMk/>
          <pc:sldMk cId="881657037" sldId="263"/>
        </pc:sldMkLst>
        <pc:spChg chg="mod">
          <ac:chgData name="Schleicher, Keith" userId="884556d8-3218-47e5-8867-331bdb0fe637" providerId="ADAL" clId="{5F36FADA-656D-4DB6-B22C-4E0865A45C88}" dt="2024-08-26T20:01:07.349" v="3988" actId="948"/>
          <ac:spMkLst>
            <pc:docMk/>
            <pc:sldMk cId="881657037" sldId="263"/>
            <ac:spMk id="2" creationId="{2E6C8DEF-B22F-BAD9-CAAD-667B8C71C75C}"/>
          </ac:spMkLst>
        </pc:spChg>
        <pc:spChg chg="mod">
          <ac:chgData name="Schleicher, Keith" userId="884556d8-3218-47e5-8867-331bdb0fe637" providerId="ADAL" clId="{5F36FADA-656D-4DB6-B22C-4E0865A45C88}" dt="2024-08-26T20:01:06.705" v="3900"/>
          <ac:spMkLst>
            <pc:docMk/>
            <pc:sldMk cId="881657037" sldId="263"/>
            <ac:spMk id="3" creationId="{A614590F-6A22-0CA1-9BE1-4BFEB7BA03DB}"/>
          </ac:spMkLst>
        </pc:spChg>
        <pc:spChg chg="add del mod modVis">
          <ac:chgData name="Schleicher, Keith" userId="884556d8-3218-47e5-8867-331bdb0fe637" providerId="ADAL" clId="{5F36FADA-656D-4DB6-B22C-4E0865A45C88}" dt="2024-08-26T19:24:59.257" v="1143"/>
          <ac:spMkLst>
            <pc:docMk/>
            <pc:sldMk cId="881657037" sldId="263"/>
            <ac:spMk id="5" creationId="{7AC37D2E-158C-2533-B74E-2F2DE3058AEB}"/>
          </ac:spMkLst>
        </pc:spChg>
        <pc:spChg chg="add del mod modVis">
          <ac:chgData name="Schleicher, Keith" userId="884556d8-3218-47e5-8867-331bdb0fe637" providerId="ADAL" clId="{5F36FADA-656D-4DB6-B22C-4E0865A45C88}" dt="2024-08-26T19:25:01.011" v="1173"/>
          <ac:spMkLst>
            <pc:docMk/>
            <pc:sldMk cId="881657037" sldId="263"/>
            <ac:spMk id="6" creationId="{4C6DF734-B57C-7DE6-3467-E07A3EDC972D}"/>
          </ac:spMkLst>
        </pc:spChg>
        <pc:spChg chg="add del mod modVis">
          <ac:chgData name="Schleicher, Keith" userId="884556d8-3218-47e5-8867-331bdb0fe637" providerId="ADAL" clId="{5F36FADA-656D-4DB6-B22C-4E0865A45C88}" dt="2024-08-26T19:25:01.752" v="1201"/>
          <ac:spMkLst>
            <pc:docMk/>
            <pc:sldMk cId="881657037" sldId="263"/>
            <ac:spMk id="7" creationId="{30616E6C-60B8-8D5D-C215-A293BDFEB24E}"/>
          </ac:spMkLst>
        </pc:spChg>
        <pc:spChg chg="add del mod modVis">
          <ac:chgData name="Schleicher, Keith" userId="884556d8-3218-47e5-8867-331bdb0fe637" providerId="ADAL" clId="{5F36FADA-656D-4DB6-B22C-4E0865A45C88}" dt="2024-08-26T19:27:19.181" v="1393"/>
          <ac:spMkLst>
            <pc:docMk/>
            <pc:sldMk cId="881657037" sldId="263"/>
            <ac:spMk id="8" creationId="{7D6A746B-706E-7D19-3728-C019D4001295}"/>
          </ac:spMkLst>
        </pc:spChg>
        <pc:spChg chg="add del mod modVis">
          <ac:chgData name="Schleicher, Keith" userId="884556d8-3218-47e5-8867-331bdb0fe637" providerId="ADAL" clId="{5F36FADA-656D-4DB6-B22C-4E0865A45C88}" dt="2024-08-26T19:27:19.734" v="1421"/>
          <ac:spMkLst>
            <pc:docMk/>
            <pc:sldMk cId="881657037" sldId="263"/>
            <ac:spMk id="9" creationId="{236B5C60-8270-201C-EBB8-CE87AB0FC04B}"/>
          </ac:spMkLst>
        </pc:spChg>
        <pc:spChg chg="add del mod modVis">
          <ac:chgData name="Schleicher, Keith" userId="884556d8-3218-47e5-8867-331bdb0fe637" providerId="ADAL" clId="{5F36FADA-656D-4DB6-B22C-4E0865A45C88}" dt="2024-08-26T19:27:21.789" v="1449"/>
          <ac:spMkLst>
            <pc:docMk/>
            <pc:sldMk cId="881657037" sldId="263"/>
            <ac:spMk id="10" creationId="{44F0566C-2EB4-11F5-769A-6D7A64F68339}"/>
          </ac:spMkLst>
        </pc:spChg>
        <pc:spChg chg="add del mod modVis">
          <ac:chgData name="Schleicher, Keith" userId="884556d8-3218-47e5-8867-331bdb0fe637" providerId="ADAL" clId="{5F36FADA-656D-4DB6-B22C-4E0865A45C88}" dt="2024-08-26T19:27:25.672" v="1497"/>
          <ac:spMkLst>
            <pc:docMk/>
            <pc:sldMk cId="881657037" sldId="263"/>
            <ac:spMk id="11" creationId="{D76AADDB-8426-4993-1BA9-BB4B4E1919FD}"/>
          </ac:spMkLst>
        </pc:spChg>
        <pc:spChg chg="add del mod modVis">
          <ac:chgData name="Schleicher, Keith" userId="884556d8-3218-47e5-8867-331bdb0fe637" providerId="ADAL" clId="{5F36FADA-656D-4DB6-B22C-4E0865A45C88}" dt="2024-08-26T19:27:26.747" v="1527"/>
          <ac:spMkLst>
            <pc:docMk/>
            <pc:sldMk cId="881657037" sldId="263"/>
            <ac:spMk id="12" creationId="{B35AFA4A-1A2A-482B-BC99-3DBE7A03A1BB}"/>
          </ac:spMkLst>
        </pc:spChg>
        <pc:spChg chg="add del mod modVis">
          <ac:chgData name="Schleicher, Keith" userId="884556d8-3218-47e5-8867-331bdb0fe637" providerId="ADAL" clId="{5F36FADA-656D-4DB6-B22C-4E0865A45C88}" dt="2024-08-26T20:01:07.484" v="4118"/>
          <ac:spMkLst>
            <pc:docMk/>
            <pc:sldMk cId="881657037" sldId="263"/>
            <ac:spMk id="13" creationId="{062EC69B-0D02-E338-9522-57CB37706A93}"/>
          </ac:spMkLst>
        </pc:spChg>
        <pc:graphicFrameChg chg="add mod ord modVis replST">
          <ac:chgData name="Schleicher, Keith" userId="884556d8-3218-47e5-8867-331bdb0fe637" providerId="ADAL" clId="{5F36FADA-656D-4DB6-B22C-4E0865A45C88}" dt="2024-08-26T20:01:07.491" v="4120"/>
          <ac:graphicFrameMkLst>
            <pc:docMk/>
            <pc:sldMk cId="881657037" sldId="263"/>
            <ac:graphicFrameMk id="4" creationId="{E3B27235-DE20-74EB-E87E-B362745B9701}"/>
          </ac:graphicFrameMkLst>
        </pc:graphicFrameChg>
      </pc:sldChg>
      <pc:sldChg chg="addSp delSp modSp new add mod ord">
        <pc:chgData name="Schleicher, Keith" userId="884556d8-3218-47e5-8867-331bdb0fe637" providerId="ADAL" clId="{5F36FADA-656D-4DB6-B22C-4E0865A45C88}" dt="2024-09-23T17:38:34.561" v="11765" actId="1037"/>
        <pc:sldMkLst>
          <pc:docMk/>
          <pc:sldMk cId="223155723" sldId="264"/>
        </pc:sldMkLst>
        <pc:spChg chg="mod">
          <ac:chgData name="Schleicher, Keith" userId="884556d8-3218-47e5-8867-331bdb0fe637" providerId="ADAL" clId="{5F36FADA-656D-4DB6-B22C-4E0865A45C88}" dt="2024-08-26T20:01:07.384" v="4009" actId="948"/>
          <ac:spMkLst>
            <pc:docMk/>
            <pc:sldMk cId="223155723" sldId="264"/>
            <ac:spMk id="2" creationId="{48E54058-E1CB-A431-0E05-5DE0F4E00743}"/>
          </ac:spMkLst>
        </pc:spChg>
        <pc:spChg chg="mod">
          <ac:chgData name="Schleicher, Keith" userId="884556d8-3218-47e5-8867-331bdb0fe637" providerId="ADAL" clId="{5F36FADA-656D-4DB6-B22C-4E0865A45C88}" dt="2024-09-23T17:38:34.561" v="11765" actId="1037"/>
          <ac:spMkLst>
            <pc:docMk/>
            <pc:sldMk cId="223155723" sldId="264"/>
            <ac:spMk id="3" creationId="{C8147FC9-1C3D-3D57-1323-DA42908808FC}"/>
          </ac:spMkLst>
        </pc:spChg>
        <pc:spChg chg="add del mod modVis">
          <ac:chgData name="Schleicher, Keith" userId="884556d8-3218-47e5-8867-331bdb0fe637" providerId="ADAL" clId="{5F36FADA-656D-4DB6-B22C-4E0865A45C88}" dt="2024-08-26T19:25:53.769" v="1241"/>
          <ac:spMkLst>
            <pc:docMk/>
            <pc:sldMk cId="223155723" sldId="264"/>
            <ac:spMk id="4" creationId="{C1B4A08B-0B72-02E1-33A7-F6C06455C0CD}"/>
          </ac:spMkLst>
        </pc:spChg>
        <pc:spChg chg="add del mod modVis">
          <ac:chgData name="Schleicher, Keith" userId="884556d8-3218-47e5-8867-331bdb0fe637" providerId="ADAL" clId="{5F36FADA-656D-4DB6-B22C-4E0865A45C88}" dt="2024-08-26T20:01:07.491" v="4122"/>
          <ac:spMkLst>
            <pc:docMk/>
            <pc:sldMk cId="223155723" sldId="264"/>
            <ac:spMk id="7" creationId="{3F0224A5-B9E9-F3B7-45A4-69248FF4D244}"/>
          </ac:spMkLst>
        </pc:spChg>
        <pc:graphicFrameChg chg="add mod ord modVis replST">
          <ac:chgData name="Schleicher, Keith" userId="884556d8-3218-47e5-8867-331bdb0fe637" providerId="ADAL" clId="{5F36FADA-656D-4DB6-B22C-4E0865A45C88}" dt="2024-08-26T20:01:07.491" v="4124"/>
          <ac:graphicFrameMkLst>
            <pc:docMk/>
            <pc:sldMk cId="223155723" sldId="264"/>
            <ac:graphicFrameMk id="5" creationId="{11CEAA37-DCC0-A847-54BA-D55F84233BEB}"/>
          </ac:graphicFrameMkLst>
        </pc:graphicFrameChg>
        <pc:graphicFrameChg chg="add mod modGraphic">
          <ac:chgData name="Schleicher, Keith" userId="884556d8-3218-47e5-8867-331bdb0fe637" providerId="ADAL" clId="{5F36FADA-656D-4DB6-B22C-4E0865A45C88}" dt="2024-08-26T20:09:50.560" v="4152" actId="113"/>
          <ac:graphicFrameMkLst>
            <pc:docMk/>
            <pc:sldMk cId="223155723" sldId="264"/>
            <ac:graphicFrameMk id="6" creationId="{AD046F3A-7783-3B2D-A07F-F8AE05FE3062}"/>
          </ac:graphicFrameMkLst>
        </pc:graphicFrameChg>
      </pc:sldChg>
      <pc:sldChg chg="addSp modSp new add mod">
        <pc:chgData name="Schleicher, Keith" userId="884556d8-3218-47e5-8867-331bdb0fe637" providerId="ADAL" clId="{5F36FADA-656D-4DB6-B22C-4E0865A45C88}" dt="2024-09-23T16:51:13.281" v="10481" actId="20577"/>
        <pc:sldMkLst>
          <pc:docMk/>
          <pc:sldMk cId="1355619290" sldId="265"/>
        </pc:sldMkLst>
        <pc:spChg chg="mod">
          <ac:chgData name="Schleicher, Keith" userId="884556d8-3218-47e5-8867-331bdb0fe637" providerId="ADAL" clId="{5F36FADA-656D-4DB6-B22C-4E0865A45C88}" dt="2024-09-23T13:51:50.384" v="10047" actId="948"/>
          <ac:spMkLst>
            <pc:docMk/>
            <pc:sldMk cId="1355619290" sldId="265"/>
            <ac:spMk id="2" creationId="{2159D1D7-3995-BB43-8FEC-DE4CA286FEBA}"/>
          </ac:spMkLst>
        </pc:spChg>
        <pc:spChg chg="mod">
          <ac:chgData name="Schleicher, Keith" userId="884556d8-3218-47e5-8867-331bdb0fe637" providerId="ADAL" clId="{5F36FADA-656D-4DB6-B22C-4E0865A45C88}" dt="2024-09-23T16:51:13.281" v="10481" actId="20577"/>
          <ac:spMkLst>
            <pc:docMk/>
            <pc:sldMk cId="1355619290" sldId="265"/>
            <ac:spMk id="3" creationId="{7B6FCB66-BBEF-0887-6951-2144F73A3D7F}"/>
          </ac:spMkLst>
        </pc:spChg>
        <pc:graphicFrameChg chg="add mod ord modVis replST">
          <ac:chgData name="Schleicher, Keith" userId="884556d8-3218-47e5-8867-331bdb0fe637" providerId="ADAL" clId="{5F36FADA-656D-4DB6-B22C-4E0865A45C88}" dt="2024-09-23T13:51:50.384" v="10049"/>
          <ac:graphicFrameMkLst>
            <pc:docMk/>
            <pc:sldMk cId="1355619290" sldId="265"/>
            <ac:graphicFrameMk id="4" creationId="{1BDBC722-28E2-40F2-7AF2-3976347C732E}"/>
          </ac:graphicFrameMkLst>
        </pc:graphicFrameChg>
      </pc:sldChg>
      <pc:sldChg chg="addSp delSp modSp new add mod">
        <pc:chgData name="Schleicher, Keith" userId="884556d8-3218-47e5-8867-331bdb0fe637" providerId="ADAL" clId="{5F36FADA-656D-4DB6-B22C-4E0865A45C88}" dt="2024-08-26T20:09:59.425" v="4153" actId="113"/>
        <pc:sldMkLst>
          <pc:docMk/>
          <pc:sldMk cId="4176858234" sldId="266"/>
        </pc:sldMkLst>
        <pc:spChg chg="mod">
          <ac:chgData name="Schleicher, Keith" userId="884556d8-3218-47e5-8867-331bdb0fe637" providerId="ADAL" clId="{5F36FADA-656D-4DB6-B22C-4E0865A45C88}" dt="2024-08-26T20:01:07.396" v="4030" actId="948"/>
          <ac:spMkLst>
            <pc:docMk/>
            <pc:sldMk cId="4176858234" sldId="266"/>
            <ac:spMk id="2" creationId="{0074E9E9-4A44-D81C-868B-AEE137FD9458}"/>
          </ac:spMkLst>
        </pc:spChg>
        <pc:spChg chg="del">
          <ac:chgData name="Schleicher, Keith" userId="884556d8-3218-47e5-8867-331bdb0fe637" providerId="ADAL" clId="{5F36FADA-656D-4DB6-B22C-4E0865A45C88}" dt="2024-08-26T19:37:29.108" v="2683" actId="478"/>
          <ac:spMkLst>
            <pc:docMk/>
            <pc:sldMk cId="4176858234" sldId="266"/>
            <ac:spMk id="3" creationId="{1D5C4CDB-A9D0-A68F-A83B-A6CF10FE5374}"/>
          </ac:spMkLst>
        </pc:spChg>
        <pc:spChg chg="add del mod modVis">
          <ac:chgData name="Schleicher, Keith" userId="884556d8-3218-47e5-8867-331bdb0fe637" providerId="ADAL" clId="{5F36FADA-656D-4DB6-B22C-4E0865A45C88}" dt="2024-08-26T19:37:00.123" v="2478"/>
          <ac:spMkLst>
            <pc:docMk/>
            <pc:sldMk cId="4176858234" sldId="266"/>
            <ac:spMk id="4" creationId="{1DC234F1-1B71-91F2-721A-5E5BDFFD21BC}"/>
          </ac:spMkLst>
        </pc:spChg>
        <pc:spChg chg="add del mod modVis">
          <ac:chgData name="Schleicher, Keith" userId="884556d8-3218-47e5-8867-331bdb0fe637" providerId="ADAL" clId="{5F36FADA-656D-4DB6-B22C-4E0865A45C88}" dt="2024-08-26T19:37:00.799" v="2519"/>
          <ac:spMkLst>
            <pc:docMk/>
            <pc:sldMk cId="4176858234" sldId="266"/>
            <ac:spMk id="6" creationId="{E40C329B-2FB8-6EBC-9442-6CACC11EED53}"/>
          </ac:spMkLst>
        </pc:spChg>
        <pc:spChg chg="add del mod modVis">
          <ac:chgData name="Schleicher, Keith" userId="884556d8-3218-47e5-8867-331bdb0fe637" providerId="ADAL" clId="{5F36FADA-656D-4DB6-B22C-4E0865A45C88}" dt="2024-08-26T19:37:06.704" v="2560"/>
          <ac:spMkLst>
            <pc:docMk/>
            <pc:sldMk cId="4176858234" sldId="266"/>
            <ac:spMk id="7" creationId="{1FB92CE5-394A-ED52-FA1E-A1A5E9806711}"/>
          </ac:spMkLst>
        </pc:spChg>
        <pc:spChg chg="add del mod modVis">
          <ac:chgData name="Schleicher, Keith" userId="884556d8-3218-47e5-8867-331bdb0fe637" providerId="ADAL" clId="{5F36FADA-656D-4DB6-B22C-4E0865A45C88}" dt="2024-08-26T19:37:09.228" v="2593"/>
          <ac:spMkLst>
            <pc:docMk/>
            <pc:sldMk cId="4176858234" sldId="266"/>
            <ac:spMk id="8" creationId="{6570BBD1-545A-F8E6-7816-BBA01D457243}"/>
          </ac:spMkLst>
        </pc:spChg>
        <pc:spChg chg="add del mod modVis">
          <ac:chgData name="Schleicher, Keith" userId="884556d8-3218-47e5-8867-331bdb0fe637" providerId="ADAL" clId="{5F36FADA-656D-4DB6-B22C-4E0865A45C88}" dt="2024-08-26T19:37:09.842" v="2621"/>
          <ac:spMkLst>
            <pc:docMk/>
            <pc:sldMk cId="4176858234" sldId="266"/>
            <ac:spMk id="9" creationId="{97388784-64F4-FFC6-566A-A6D5EB74C6F0}"/>
          </ac:spMkLst>
        </pc:spChg>
        <pc:spChg chg="add del mod modVis">
          <ac:chgData name="Schleicher, Keith" userId="884556d8-3218-47e5-8867-331bdb0fe637" providerId="ADAL" clId="{5F36FADA-656D-4DB6-B22C-4E0865A45C88}" dt="2024-08-26T19:37:11.042" v="2651"/>
          <ac:spMkLst>
            <pc:docMk/>
            <pc:sldMk cId="4176858234" sldId="266"/>
            <ac:spMk id="10" creationId="{C7E28334-5395-139C-69B1-EFCCECEB8819}"/>
          </ac:spMkLst>
        </pc:spChg>
        <pc:spChg chg="add del mod modVis">
          <ac:chgData name="Schleicher, Keith" userId="884556d8-3218-47e5-8867-331bdb0fe637" providerId="ADAL" clId="{5F36FADA-656D-4DB6-B22C-4E0865A45C88}" dt="2024-08-26T19:37:14.187" v="2679"/>
          <ac:spMkLst>
            <pc:docMk/>
            <pc:sldMk cId="4176858234" sldId="266"/>
            <ac:spMk id="11" creationId="{BA40A499-1EFA-4585-2AD5-3260364C3F9A}"/>
          </ac:spMkLst>
        </pc:spChg>
        <pc:spChg chg="add mod">
          <ac:chgData name="Schleicher, Keith" userId="884556d8-3218-47e5-8867-331bdb0fe637" providerId="ADAL" clId="{5F36FADA-656D-4DB6-B22C-4E0865A45C88}" dt="2024-08-26T19:42:02.286" v="3032" actId="554"/>
          <ac:spMkLst>
            <pc:docMk/>
            <pc:sldMk cId="4176858234" sldId="266"/>
            <ac:spMk id="13" creationId="{A8D9C18B-D36B-9D74-F0FB-147DC8B2441C}"/>
          </ac:spMkLst>
        </pc:spChg>
        <pc:spChg chg="add mod">
          <ac:chgData name="Schleicher, Keith" userId="884556d8-3218-47e5-8867-331bdb0fe637" providerId="ADAL" clId="{5F36FADA-656D-4DB6-B22C-4E0865A45C88}" dt="2024-08-26T19:42:02.286" v="3032" actId="554"/>
          <ac:spMkLst>
            <pc:docMk/>
            <pc:sldMk cId="4176858234" sldId="266"/>
            <ac:spMk id="14" creationId="{9F1E34B4-34FE-8930-ADF7-C2B78EAB2665}"/>
          </ac:spMkLst>
        </pc:spChg>
        <pc:spChg chg="add mod">
          <ac:chgData name="Schleicher, Keith" userId="884556d8-3218-47e5-8867-331bdb0fe637" providerId="ADAL" clId="{5F36FADA-656D-4DB6-B22C-4E0865A45C88}" dt="2024-08-26T19:42:02.286" v="3032" actId="554"/>
          <ac:spMkLst>
            <pc:docMk/>
            <pc:sldMk cId="4176858234" sldId="266"/>
            <ac:spMk id="15" creationId="{5891D93F-806B-F3A2-70AB-4B30F119C069}"/>
          </ac:spMkLst>
        </pc:spChg>
        <pc:spChg chg="add mod">
          <ac:chgData name="Schleicher, Keith" userId="884556d8-3218-47e5-8867-331bdb0fe637" providerId="ADAL" clId="{5F36FADA-656D-4DB6-B22C-4E0865A45C88}" dt="2024-08-26T19:42:02.286" v="3032" actId="554"/>
          <ac:spMkLst>
            <pc:docMk/>
            <pc:sldMk cId="4176858234" sldId="266"/>
            <ac:spMk id="16" creationId="{138D5823-BB78-96F3-EEF5-38D0C38834A1}"/>
          </ac:spMkLst>
        </pc:spChg>
        <pc:spChg chg="add del mod modVis">
          <ac:chgData name="Schleicher, Keith" userId="884556d8-3218-47e5-8867-331bdb0fe637" providerId="ADAL" clId="{5F36FADA-656D-4DB6-B22C-4E0865A45C88}" dt="2024-08-26T20:01:07.491" v="4126"/>
          <ac:spMkLst>
            <pc:docMk/>
            <pc:sldMk cId="4176858234" sldId="266"/>
            <ac:spMk id="17" creationId="{1A3F69F0-C931-A137-DB60-72D2CE4B69A4}"/>
          </ac:spMkLst>
        </pc:spChg>
        <pc:graphicFrameChg chg="add mod ord modVis replST">
          <ac:chgData name="Schleicher, Keith" userId="884556d8-3218-47e5-8867-331bdb0fe637" providerId="ADAL" clId="{5F36FADA-656D-4DB6-B22C-4E0865A45C88}" dt="2024-08-26T20:01:07.491" v="4128"/>
          <ac:graphicFrameMkLst>
            <pc:docMk/>
            <pc:sldMk cId="4176858234" sldId="266"/>
            <ac:graphicFrameMk id="5" creationId="{D72CDC92-C528-5366-B89F-CE9BF494908B}"/>
          </ac:graphicFrameMkLst>
        </pc:graphicFrameChg>
        <pc:graphicFrameChg chg="add mod">
          <ac:chgData name="Schleicher, Keith" userId="884556d8-3218-47e5-8867-331bdb0fe637" providerId="ADAL" clId="{5F36FADA-656D-4DB6-B22C-4E0865A45C88}" dt="2024-08-26T20:09:59.425" v="4153" actId="113"/>
          <ac:graphicFrameMkLst>
            <pc:docMk/>
            <pc:sldMk cId="4176858234" sldId="266"/>
            <ac:graphicFrameMk id="12" creationId="{5CA6F3F1-2260-2E72-6062-C8C106C2D215}"/>
          </ac:graphicFrameMkLst>
        </pc:graphicFrameChg>
      </pc:sldChg>
      <pc:sldChg chg="addSp delSp modSp new add mod ord">
        <pc:chgData name="Schleicher, Keith" userId="884556d8-3218-47e5-8867-331bdb0fe637" providerId="ADAL" clId="{5F36FADA-656D-4DB6-B22C-4E0865A45C88}" dt="2024-09-23T13:46:51.419" v="10006"/>
        <pc:sldMkLst>
          <pc:docMk/>
          <pc:sldMk cId="4268076825" sldId="267"/>
        </pc:sldMkLst>
        <pc:spChg chg="mod">
          <ac:chgData name="Schleicher, Keith" userId="884556d8-3218-47e5-8867-331bdb0fe637" providerId="ADAL" clId="{5F36FADA-656D-4DB6-B22C-4E0865A45C88}" dt="2024-09-23T13:46:51.370" v="9982" actId="948"/>
          <ac:spMkLst>
            <pc:docMk/>
            <pc:sldMk cId="4268076825" sldId="267"/>
            <ac:spMk id="2" creationId="{DFD59E19-0CE1-B15C-820B-F61BE802C710}"/>
          </ac:spMkLst>
        </pc:spChg>
        <pc:spChg chg="mod">
          <ac:chgData name="Schleicher, Keith" userId="884556d8-3218-47e5-8867-331bdb0fe637" providerId="ADAL" clId="{5F36FADA-656D-4DB6-B22C-4E0865A45C88}" dt="2024-09-19T16:13:56.584" v="9824" actId="5793"/>
          <ac:spMkLst>
            <pc:docMk/>
            <pc:sldMk cId="4268076825" sldId="267"/>
            <ac:spMk id="3" creationId="{04CE976E-89EF-E320-7884-1D80C3706E4E}"/>
          </ac:spMkLst>
        </pc:spChg>
        <pc:spChg chg="add del mod modVis">
          <ac:chgData name="Schleicher, Keith" userId="884556d8-3218-47e5-8867-331bdb0fe637" providerId="ADAL" clId="{5F36FADA-656D-4DB6-B22C-4E0865A45C88}" dt="2024-08-26T19:43:58.587" v="3092"/>
          <ac:spMkLst>
            <pc:docMk/>
            <pc:sldMk cId="4268076825" sldId="267"/>
            <ac:spMk id="5" creationId="{B2634632-8EBD-E7FD-D128-B1495CC9A866}"/>
          </ac:spMkLst>
        </pc:spChg>
        <pc:spChg chg="add del mod modVis">
          <ac:chgData name="Schleicher, Keith" userId="884556d8-3218-47e5-8867-331bdb0fe637" providerId="ADAL" clId="{5F36FADA-656D-4DB6-B22C-4E0865A45C88}" dt="2024-09-23T13:46:43.644" v="9898"/>
          <ac:spMkLst>
            <pc:docMk/>
            <pc:sldMk cId="4268076825" sldId="267"/>
            <ac:spMk id="5" creationId="{DE522BC8-3D2F-63B9-01D2-BA6CFFECEE2F}"/>
          </ac:spMkLst>
        </pc:spChg>
        <pc:spChg chg="add del mod modVis">
          <ac:chgData name="Schleicher, Keith" userId="884556d8-3218-47e5-8867-331bdb0fe637" providerId="ADAL" clId="{5F36FADA-656D-4DB6-B22C-4E0865A45C88}" dt="2024-08-26T19:44:03.529" v="3122"/>
          <ac:spMkLst>
            <pc:docMk/>
            <pc:sldMk cId="4268076825" sldId="267"/>
            <ac:spMk id="6" creationId="{747EA9AA-4ECE-3FA8-A1FB-117569BD5C70}"/>
          </ac:spMkLst>
        </pc:spChg>
        <pc:spChg chg="add del mod modVis">
          <ac:chgData name="Schleicher, Keith" userId="884556d8-3218-47e5-8867-331bdb0fe637" providerId="ADAL" clId="{5F36FADA-656D-4DB6-B22C-4E0865A45C88}" dt="2024-09-23T13:46:44.823" v="9927"/>
          <ac:spMkLst>
            <pc:docMk/>
            <pc:sldMk cId="4268076825" sldId="267"/>
            <ac:spMk id="6" creationId="{E1A6B7A8-5FBD-17D0-B1B4-FA38FD7D6614}"/>
          </ac:spMkLst>
        </pc:spChg>
        <pc:spChg chg="add del mod modVis">
          <ac:chgData name="Schleicher, Keith" userId="884556d8-3218-47e5-8867-331bdb0fe637" providerId="ADAL" clId="{5F36FADA-656D-4DB6-B22C-4E0865A45C88}" dt="2024-08-26T19:44:04.854" v="3150"/>
          <ac:spMkLst>
            <pc:docMk/>
            <pc:sldMk cId="4268076825" sldId="267"/>
            <ac:spMk id="7" creationId="{19B50635-5DBF-4E71-052E-0DFF0B2DE688}"/>
          </ac:spMkLst>
        </pc:spChg>
        <pc:spChg chg="add del mod modVis">
          <ac:chgData name="Schleicher, Keith" userId="884556d8-3218-47e5-8867-331bdb0fe637" providerId="ADAL" clId="{5F36FADA-656D-4DB6-B22C-4E0865A45C88}" dt="2024-09-23T13:46:48.021" v="9964"/>
          <ac:spMkLst>
            <pc:docMk/>
            <pc:sldMk cId="4268076825" sldId="267"/>
            <ac:spMk id="7" creationId="{F01D300A-1AB5-5E46-F969-D17620470456}"/>
          </ac:spMkLst>
        </pc:spChg>
        <pc:spChg chg="add del mod modVis">
          <ac:chgData name="Schleicher, Keith" userId="884556d8-3218-47e5-8867-331bdb0fe637" providerId="ADAL" clId="{5F36FADA-656D-4DB6-B22C-4E0865A45C88}" dt="2024-09-23T13:46:51.419" v="10004"/>
          <ac:spMkLst>
            <pc:docMk/>
            <pc:sldMk cId="4268076825" sldId="267"/>
            <ac:spMk id="8" creationId="{41EE7659-1CB0-7078-7C8E-81F9EE0A8B52}"/>
          </ac:spMkLst>
        </pc:spChg>
        <pc:spChg chg="add del mod modVis">
          <ac:chgData name="Schleicher, Keith" userId="884556d8-3218-47e5-8867-331bdb0fe637" providerId="ADAL" clId="{5F36FADA-656D-4DB6-B22C-4E0865A45C88}" dt="2024-08-26T19:44:06.687" v="3185"/>
          <ac:spMkLst>
            <pc:docMk/>
            <pc:sldMk cId="4268076825" sldId="267"/>
            <ac:spMk id="8" creationId="{754CCC4A-6BB3-5E04-73D9-8F4503647694}"/>
          </ac:spMkLst>
        </pc:spChg>
        <pc:spChg chg="add del mod modVis">
          <ac:chgData name="Schleicher, Keith" userId="884556d8-3218-47e5-8867-331bdb0fe637" providerId="ADAL" clId="{5F36FADA-656D-4DB6-B22C-4E0865A45C88}" dt="2024-08-26T20:01:07.553" v="4149"/>
          <ac:spMkLst>
            <pc:docMk/>
            <pc:sldMk cId="4268076825" sldId="267"/>
            <ac:spMk id="9" creationId="{2E8F5D38-5C27-C0C7-B541-5B06BADA8456}"/>
          </ac:spMkLst>
        </pc:spChg>
        <pc:graphicFrameChg chg="add mod ord modVis replST">
          <ac:chgData name="Schleicher, Keith" userId="884556d8-3218-47e5-8867-331bdb0fe637" providerId="ADAL" clId="{5F36FADA-656D-4DB6-B22C-4E0865A45C88}" dt="2024-09-23T13:46:51.419" v="10006"/>
          <ac:graphicFrameMkLst>
            <pc:docMk/>
            <pc:sldMk cId="4268076825" sldId="267"/>
            <ac:graphicFrameMk id="4" creationId="{91B1DF14-1301-6AE5-CE01-CA21163108C5}"/>
          </ac:graphicFrameMkLst>
        </pc:graphicFrameChg>
      </pc:sldChg>
      <pc:sldChg chg="addSp modSp new add del mod">
        <pc:chgData name="Schleicher, Keith" userId="884556d8-3218-47e5-8867-331bdb0fe637" providerId="ADAL" clId="{5F36FADA-656D-4DB6-B22C-4E0865A45C88}" dt="2024-08-27T18:35:33.087" v="5149" actId="47"/>
        <pc:sldMkLst>
          <pc:docMk/>
          <pc:sldMk cId="3083906001" sldId="268"/>
        </pc:sldMkLst>
        <pc:spChg chg="mod">
          <ac:chgData name="Schleicher, Keith" userId="884556d8-3218-47e5-8867-331bdb0fe637" providerId="ADAL" clId="{5F36FADA-656D-4DB6-B22C-4E0865A45C88}" dt="2024-08-26T20:01:06.705" v="3900"/>
          <ac:spMkLst>
            <pc:docMk/>
            <pc:sldMk cId="3083906001" sldId="268"/>
            <ac:spMk id="2" creationId="{BA64003F-2E67-FD44-FAC0-77E1D3F5B216}"/>
          </ac:spMkLst>
        </pc:spChg>
        <pc:spChg chg="mod">
          <ac:chgData name="Schleicher, Keith" userId="884556d8-3218-47e5-8867-331bdb0fe637" providerId="ADAL" clId="{5F36FADA-656D-4DB6-B22C-4E0865A45C88}" dt="2024-08-26T20:01:06.705" v="3900"/>
          <ac:spMkLst>
            <pc:docMk/>
            <pc:sldMk cId="3083906001" sldId="268"/>
            <ac:spMk id="3" creationId="{3E7BBF8F-41A8-2B2F-A15C-114D0E8F1128}"/>
          </ac:spMkLst>
        </pc:spChg>
        <pc:graphicFrameChg chg="add mod ord modVis replST">
          <ac:chgData name="Schleicher, Keith" userId="884556d8-3218-47e5-8867-331bdb0fe637" providerId="ADAL" clId="{5F36FADA-656D-4DB6-B22C-4E0865A45C88}" dt="2024-08-26T20:01:07.553" v="4147"/>
          <ac:graphicFrameMkLst>
            <pc:docMk/>
            <pc:sldMk cId="3083906001" sldId="268"/>
            <ac:graphicFrameMk id="4" creationId="{D681E31E-BAB5-459D-6317-C1EED2A2C1E3}"/>
          </ac:graphicFrameMkLst>
        </pc:graphicFrameChg>
      </pc:sldChg>
      <pc:sldChg chg="addSp delSp modSp new add mod">
        <pc:chgData name="Schleicher, Keith" userId="884556d8-3218-47e5-8867-331bdb0fe637" providerId="ADAL" clId="{5F36FADA-656D-4DB6-B22C-4E0865A45C88}" dt="2024-08-26T20:01:07.491" v="4132"/>
        <pc:sldMkLst>
          <pc:docMk/>
          <pc:sldMk cId="91102589" sldId="269"/>
        </pc:sldMkLst>
        <pc:spChg chg="mod">
          <ac:chgData name="Schleicher, Keith" userId="884556d8-3218-47e5-8867-331bdb0fe637" providerId="ADAL" clId="{5F36FADA-656D-4DB6-B22C-4E0865A45C88}" dt="2024-08-26T20:01:07.412" v="4051" actId="948"/>
          <ac:spMkLst>
            <pc:docMk/>
            <pc:sldMk cId="91102589" sldId="269"/>
            <ac:spMk id="2" creationId="{4C614143-577F-1083-424A-6B51E7FB29F5}"/>
          </ac:spMkLst>
        </pc:spChg>
        <pc:spChg chg="add del">
          <ac:chgData name="Schleicher, Keith" userId="884556d8-3218-47e5-8867-331bdb0fe637" providerId="ADAL" clId="{5F36FADA-656D-4DB6-B22C-4E0865A45C88}" dt="2024-08-26T19:51:38.657" v="3504" actId="1032"/>
          <ac:spMkLst>
            <pc:docMk/>
            <pc:sldMk cId="91102589" sldId="269"/>
            <ac:spMk id="3" creationId="{A6B35C0C-D0B0-9F4E-FC18-5C6880C6A647}"/>
          </ac:spMkLst>
        </pc:spChg>
        <pc:spChg chg="add del mod modVis">
          <ac:chgData name="Schleicher, Keith" userId="884556d8-3218-47e5-8867-331bdb0fe637" providerId="ADAL" clId="{5F36FADA-656D-4DB6-B22C-4E0865A45C88}" dt="2024-08-26T19:54:28.148" v="3626"/>
          <ac:spMkLst>
            <pc:docMk/>
            <pc:sldMk cId="91102589" sldId="269"/>
            <ac:spMk id="6" creationId="{760F93B3-3B6A-CC8B-40BC-245F92C003B0}"/>
          </ac:spMkLst>
        </pc:spChg>
        <pc:spChg chg="add mod">
          <ac:chgData name="Schleicher, Keith" userId="884556d8-3218-47e5-8867-331bdb0fe637" providerId="ADAL" clId="{5F36FADA-656D-4DB6-B22C-4E0865A45C88}" dt="2024-08-26T19:57:32.261" v="3899" actId="1076"/>
          <ac:spMkLst>
            <pc:docMk/>
            <pc:sldMk cId="91102589" sldId="269"/>
            <ac:spMk id="8" creationId="{522CF5F7-66B4-F3BF-E878-6CE1CA9CC71C}"/>
          </ac:spMkLst>
        </pc:spChg>
        <pc:spChg chg="add del mod modVis">
          <ac:chgData name="Schleicher, Keith" userId="884556d8-3218-47e5-8867-331bdb0fe637" providerId="ADAL" clId="{5F36FADA-656D-4DB6-B22C-4E0865A45C88}" dt="2024-08-26T20:01:07.491" v="4130"/>
          <ac:spMkLst>
            <pc:docMk/>
            <pc:sldMk cId="91102589" sldId="269"/>
            <ac:spMk id="9" creationId="{A2376C05-A4AD-9452-E534-86D06E34F52E}"/>
          </ac:spMkLst>
        </pc:spChg>
        <pc:graphicFrameChg chg="add del modGraphic">
          <ac:chgData name="Schleicher, Keith" userId="884556d8-3218-47e5-8867-331bdb0fe637" providerId="ADAL" clId="{5F36FADA-656D-4DB6-B22C-4E0865A45C88}" dt="2024-08-26T19:51:15.849" v="3503" actId="1032"/>
          <ac:graphicFrameMkLst>
            <pc:docMk/>
            <pc:sldMk cId="91102589" sldId="269"/>
            <ac:graphicFrameMk id="4" creationId="{71ACFDCC-2E09-6D26-6FBA-DEEBFB5EF5DB}"/>
          </ac:graphicFrameMkLst>
        </pc:graphicFrameChg>
        <pc:graphicFrameChg chg="add mod modGraphic">
          <ac:chgData name="Schleicher, Keith" userId="884556d8-3218-47e5-8867-331bdb0fe637" providerId="ADAL" clId="{5F36FADA-656D-4DB6-B22C-4E0865A45C88}" dt="2024-08-26T19:57:10.735" v="3896" actId="255"/>
          <ac:graphicFrameMkLst>
            <pc:docMk/>
            <pc:sldMk cId="91102589" sldId="269"/>
            <ac:graphicFrameMk id="5" creationId="{8C1A9138-456C-BF1F-54D5-B338F1236243}"/>
          </ac:graphicFrameMkLst>
        </pc:graphicFrameChg>
        <pc:graphicFrameChg chg="add mod ord modVis replST">
          <ac:chgData name="Schleicher, Keith" userId="884556d8-3218-47e5-8867-331bdb0fe637" providerId="ADAL" clId="{5F36FADA-656D-4DB6-B22C-4E0865A45C88}" dt="2024-08-26T20:01:07.491" v="4132"/>
          <ac:graphicFrameMkLst>
            <pc:docMk/>
            <pc:sldMk cId="91102589" sldId="269"/>
            <ac:graphicFrameMk id="7" creationId="{CF04A5CF-DC6E-B779-BC60-6C9B19C0D2DB}"/>
          </ac:graphicFrameMkLst>
        </pc:graphicFrameChg>
      </pc:sldChg>
      <pc:sldChg chg="addSp delSp modSp new add mod ord">
        <pc:chgData name="Schleicher, Keith" userId="884556d8-3218-47e5-8867-331bdb0fe637" providerId="ADAL" clId="{5F36FADA-656D-4DB6-B22C-4E0865A45C88}" dt="2024-09-16T21:23:50.208" v="9266"/>
        <pc:sldMkLst>
          <pc:docMk/>
          <pc:sldMk cId="2216104514" sldId="270"/>
        </pc:sldMkLst>
        <pc:spChg chg="mod ord">
          <ac:chgData name="Schleicher, Keith" userId="884556d8-3218-47e5-8867-331bdb0fe637" providerId="ADAL" clId="{5F36FADA-656D-4DB6-B22C-4E0865A45C88}" dt="2024-09-16T21:23:50.177" v="9252" actId="948"/>
          <ac:spMkLst>
            <pc:docMk/>
            <pc:sldMk cId="2216104514" sldId="270"/>
            <ac:spMk id="2" creationId="{EBC33334-9294-F590-AE7F-C727FDC8FC23}"/>
          </ac:spMkLst>
        </pc:spChg>
        <pc:spChg chg="del mod ord">
          <ac:chgData name="Schleicher, Keith" userId="884556d8-3218-47e5-8867-331bdb0fe637" providerId="ADAL" clId="{5F36FADA-656D-4DB6-B22C-4E0865A45C88}" dt="2024-08-27T18:42:02.679" v="5623" actId="478"/>
          <ac:spMkLst>
            <pc:docMk/>
            <pc:sldMk cId="2216104514" sldId="270"/>
            <ac:spMk id="3" creationId="{2DD7F173-07E7-4E90-93FB-4CCBE86865D6}"/>
          </ac:spMkLst>
        </pc:spChg>
        <pc:spChg chg="add del mod modVis">
          <ac:chgData name="Schleicher, Keith" userId="884556d8-3218-47e5-8867-331bdb0fe637" providerId="ADAL" clId="{5F36FADA-656D-4DB6-B22C-4E0865A45C88}" dt="2024-09-16T21:22:46.882" v="8941"/>
          <ac:spMkLst>
            <pc:docMk/>
            <pc:sldMk cId="2216104514" sldId="270"/>
            <ac:spMk id="3" creationId="{92AC5BC9-1EC4-CEB2-2DDE-5C14ABF2AE81}"/>
          </ac:spMkLst>
        </pc:spChg>
        <pc:spChg chg="add mod replST">
          <ac:chgData name="Schleicher, Keith" userId="884556d8-3218-47e5-8867-331bdb0fe637" providerId="ADAL" clId="{5F36FADA-656D-4DB6-B22C-4E0865A45C88}" dt="2024-09-16T21:23:50.192" v="9259" actId="948"/>
          <ac:spMkLst>
            <pc:docMk/>
            <pc:sldMk cId="2216104514" sldId="270"/>
            <ac:spMk id="5" creationId="{B6D04AF2-B619-5E7A-8BF3-8BA4CED915D5}"/>
          </ac:spMkLst>
        </pc:spChg>
        <pc:spChg chg="add del mod modVis">
          <ac:chgData name="Schleicher, Keith" userId="884556d8-3218-47e5-8867-331bdb0fe637" providerId="ADAL" clId="{5F36FADA-656D-4DB6-B22C-4E0865A45C88}" dt="2024-08-27T18:38:46.710" v="5228"/>
          <ac:spMkLst>
            <pc:docMk/>
            <pc:sldMk cId="2216104514" sldId="270"/>
            <ac:spMk id="5" creationId="{E1B3C60B-DBD7-42D0-60F7-28C49D46E5E6}"/>
          </ac:spMkLst>
        </pc:spChg>
        <pc:spChg chg="add del mod modVis">
          <ac:chgData name="Schleicher, Keith" userId="884556d8-3218-47e5-8867-331bdb0fe637" providerId="ADAL" clId="{5F36FADA-656D-4DB6-B22C-4E0865A45C88}" dt="2024-09-16T21:23:50.208" v="9264"/>
          <ac:spMkLst>
            <pc:docMk/>
            <pc:sldMk cId="2216104514" sldId="270"/>
            <ac:spMk id="6" creationId="{901C20C3-CA1A-3DF7-3409-4AFDA33B1F24}"/>
          </ac:spMkLst>
        </pc:spChg>
        <pc:spChg chg="add del mod modVis">
          <ac:chgData name="Schleicher, Keith" userId="884556d8-3218-47e5-8867-331bdb0fe637" providerId="ADAL" clId="{5F36FADA-656D-4DB6-B22C-4E0865A45C88}" dt="2024-08-27T18:38:50.337" v="5266"/>
          <ac:spMkLst>
            <pc:docMk/>
            <pc:sldMk cId="2216104514" sldId="270"/>
            <ac:spMk id="6" creationId="{BB1194E1-C353-36AA-13C4-D7756384FC43}"/>
          </ac:spMkLst>
        </pc:spChg>
        <pc:spChg chg="add del mod modVis">
          <ac:chgData name="Schleicher, Keith" userId="884556d8-3218-47e5-8867-331bdb0fe637" providerId="ADAL" clId="{5F36FADA-656D-4DB6-B22C-4E0865A45C88}" dt="2024-08-27T18:38:51.324" v="5296"/>
          <ac:spMkLst>
            <pc:docMk/>
            <pc:sldMk cId="2216104514" sldId="270"/>
            <ac:spMk id="7" creationId="{14D010CA-C7A3-7598-231A-636890D46E50}"/>
          </ac:spMkLst>
        </pc:spChg>
        <pc:spChg chg="add del mod modVis">
          <ac:chgData name="Schleicher, Keith" userId="884556d8-3218-47e5-8867-331bdb0fe637" providerId="ADAL" clId="{5F36FADA-656D-4DB6-B22C-4E0865A45C88}" dt="2024-08-27T18:38:57.813" v="5324"/>
          <ac:spMkLst>
            <pc:docMk/>
            <pc:sldMk cId="2216104514" sldId="270"/>
            <ac:spMk id="8" creationId="{1CEC2538-10E7-9FD6-DC1D-804312D1586D}"/>
          </ac:spMkLst>
        </pc:spChg>
        <pc:spChg chg="add del mod modVis">
          <ac:chgData name="Schleicher, Keith" userId="884556d8-3218-47e5-8867-331bdb0fe637" providerId="ADAL" clId="{5F36FADA-656D-4DB6-B22C-4E0865A45C88}" dt="2024-08-27T18:38:59.514" v="5364"/>
          <ac:spMkLst>
            <pc:docMk/>
            <pc:sldMk cId="2216104514" sldId="270"/>
            <ac:spMk id="9" creationId="{33CBD672-2546-F7EA-715E-7B867FFA6DB6}"/>
          </ac:spMkLst>
        </pc:spChg>
        <pc:spChg chg="add del mod modVis">
          <ac:chgData name="Schleicher, Keith" userId="884556d8-3218-47e5-8867-331bdb0fe637" providerId="ADAL" clId="{5F36FADA-656D-4DB6-B22C-4E0865A45C88}" dt="2024-08-27T18:38:59.608" v="5392"/>
          <ac:spMkLst>
            <pc:docMk/>
            <pc:sldMk cId="2216104514" sldId="270"/>
            <ac:spMk id="10" creationId="{E90CCC40-A788-4EB5-8A90-48AD7D787973}"/>
          </ac:spMkLst>
        </pc:spChg>
        <pc:spChg chg="add del mod modVis">
          <ac:chgData name="Schleicher, Keith" userId="884556d8-3218-47e5-8867-331bdb0fe637" providerId="ADAL" clId="{5F36FADA-656D-4DB6-B22C-4E0865A45C88}" dt="2024-08-27T18:39:00.612" v="5423"/>
          <ac:spMkLst>
            <pc:docMk/>
            <pc:sldMk cId="2216104514" sldId="270"/>
            <ac:spMk id="11" creationId="{1AE269D1-F708-B4F3-9D05-C3538322B7BB}"/>
          </ac:spMkLst>
        </pc:spChg>
        <pc:spChg chg="add mod ord replST">
          <ac:chgData name="Schleicher, Keith" userId="884556d8-3218-47e5-8867-331bdb0fe637" providerId="ADAL" clId="{5F36FADA-656D-4DB6-B22C-4E0865A45C88}" dt="2024-09-16T21:23:50.177" v="9253" actId="948"/>
          <ac:spMkLst>
            <pc:docMk/>
            <pc:sldMk cId="2216104514" sldId="270"/>
            <ac:spMk id="12" creationId="{7CEF17AC-33CA-D4A5-EC3B-3CDB88DF3B8D}"/>
          </ac:spMkLst>
        </pc:spChg>
        <pc:spChg chg="add mod replST">
          <ac:chgData name="Schleicher, Keith" userId="884556d8-3218-47e5-8867-331bdb0fe637" providerId="ADAL" clId="{5F36FADA-656D-4DB6-B22C-4E0865A45C88}" dt="2024-09-16T21:23:50.177" v="9254" actId="948"/>
          <ac:spMkLst>
            <pc:docMk/>
            <pc:sldMk cId="2216104514" sldId="270"/>
            <ac:spMk id="13" creationId="{AE164DDE-D19D-2CAE-FDA8-2CA0D0836A44}"/>
          </ac:spMkLst>
        </pc:spChg>
        <pc:spChg chg="add mod replST">
          <ac:chgData name="Schleicher, Keith" userId="884556d8-3218-47e5-8867-331bdb0fe637" providerId="ADAL" clId="{5F36FADA-656D-4DB6-B22C-4E0865A45C88}" dt="2024-09-16T21:23:50.177" v="9255" actId="948"/>
          <ac:spMkLst>
            <pc:docMk/>
            <pc:sldMk cId="2216104514" sldId="270"/>
            <ac:spMk id="14" creationId="{82DD5D88-05EF-A065-8128-42BF6E6B060F}"/>
          </ac:spMkLst>
        </pc:spChg>
        <pc:spChg chg="add mod replST">
          <ac:chgData name="Schleicher, Keith" userId="884556d8-3218-47e5-8867-331bdb0fe637" providerId="ADAL" clId="{5F36FADA-656D-4DB6-B22C-4E0865A45C88}" dt="2024-09-16T21:23:50.177" v="9256" actId="948"/>
          <ac:spMkLst>
            <pc:docMk/>
            <pc:sldMk cId="2216104514" sldId="270"/>
            <ac:spMk id="15" creationId="{6F8B9B24-CA7D-3A45-3B03-9459DA08CE9B}"/>
          </ac:spMkLst>
        </pc:spChg>
        <pc:spChg chg="add mod replST">
          <ac:chgData name="Schleicher, Keith" userId="884556d8-3218-47e5-8867-331bdb0fe637" providerId="ADAL" clId="{5F36FADA-656D-4DB6-B22C-4E0865A45C88}" dt="2024-09-16T21:23:50.192" v="9257" actId="948"/>
          <ac:spMkLst>
            <pc:docMk/>
            <pc:sldMk cId="2216104514" sldId="270"/>
            <ac:spMk id="16" creationId="{962EFD0C-122E-8AF3-DFD9-22B93DEBDFFA}"/>
          </ac:spMkLst>
        </pc:spChg>
        <pc:spChg chg="add del mod modVis">
          <ac:chgData name="Schleicher, Keith" userId="884556d8-3218-47e5-8867-331bdb0fe637" providerId="ADAL" clId="{5F36FADA-656D-4DB6-B22C-4E0865A45C88}" dt="2024-08-27T18:44:59.311" v="5853"/>
          <ac:spMkLst>
            <pc:docMk/>
            <pc:sldMk cId="2216104514" sldId="270"/>
            <ac:spMk id="17" creationId="{258B2732-81D0-09E8-BBD5-9F35220070F0}"/>
          </ac:spMkLst>
        </pc:spChg>
        <pc:spChg chg="add del mod modVis">
          <ac:chgData name="Schleicher, Keith" userId="884556d8-3218-47e5-8867-331bdb0fe637" providerId="ADAL" clId="{5F36FADA-656D-4DB6-B22C-4E0865A45C88}" dt="2024-08-27T18:45:00.773" v="5893"/>
          <ac:spMkLst>
            <pc:docMk/>
            <pc:sldMk cId="2216104514" sldId="270"/>
            <ac:spMk id="18" creationId="{6D80E7F4-5D90-3EB5-EA7A-050779E571A4}"/>
          </ac:spMkLst>
        </pc:spChg>
        <pc:spChg chg="add mod replST">
          <ac:chgData name="Schleicher, Keith" userId="884556d8-3218-47e5-8867-331bdb0fe637" providerId="ADAL" clId="{5F36FADA-656D-4DB6-B22C-4E0865A45C88}" dt="2024-09-16T21:23:50.192" v="9260" actId="948"/>
          <ac:spMkLst>
            <pc:docMk/>
            <pc:sldMk cId="2216104514" sldId="270"/>
            <ac:spMk id="19" creationId="{6FCFA862-8FB1-3C66-09F3-3567074AC7A3}"/>
          </ac:spMkLst>
        </pc:spChg>
        <pc:spChg chg="add del mod modVis">
          <ac:chgData name="Schleicher, Keith" userId="884556d8-3218-47e5-8867-331bdb0fe637" providerId="ADAL" clId="{5F36FADA-656D-4DB6-B22C-4E0865A45C88}" dt="2024-08-27T18:45:40.114" v="6037"/>
          <ac:spMkLst>
            <pc:docMk/>
            <pc:sldMk cId="2216104514" sldId="270"/>
            <ac:spMk id="20" creationId="{E59A094D-A08A-CA15-A65E-953404C0D7EF}"/>
          </ac:spMkLst>
        </pc:spChg>
        <pc:spChg chg="add del mod modVis">
          <ac:chgData name="Schleicher, Keith" userId="884556d8-3218-47e5-8867-331bdb0fe637" providerId="ADAL" clId="{5F36FADA-656D-4DB6-B22C-4E0865A45C88}" dt="2024-08-27T18:45:42.118" v="6080"/>
          <ac:spMkLst>
            <pc:docMk/>
            <pc:sldMk cId="2216104514" sldId="270"/>
            <ac:spMk id="21" creationId="{8A701D94-B93F-FB96-2A09-F670B0EDD463}"/>
          </ac:spMkLst>
        </pc:spChg>
        <pc:spChg chg="add del mod modVis">
          <ac:chgData name="Schleicher, Keith" userId="884556d8-3218-47e5-8867-331bdb0fe637" providerId="ADAL" clId="{5F36FADA-656D-4DB6-B22C-4E0865A45C88}" dt="2024-08-27T18:45:51.967" v="6162"/>
          <ac:spMkLst>
            <pc:docMk/>
            <pc:sldMk cId="2216104514" sldId="270"/>
            <ac:spMk id="22" creationId="{2180AD29-A17C-D880-1F51-E7C627F5FA59}"/>
          </ac:spMkLst>
        </pc:spChg>
        <pc:spChg chg="add del mod modVis">
          <ac:chgData name="Schleicher, Keith" userId="884556d8-3218-47e5-8867-331bdb0fe637" providerId="ADAL" clId="{5F36FADA-656D-4DB6-B22C-4E0865A45C88}" dt="2024-08-27T18:45:52.840" v="6196"/>
          <ac:spMkLst>
            <pc:docMk/>
            <pc:sldMk cId="2216104514" sldId="270"/>
            <ac:spMk id="23" creationId="{AC10D358-B3A6-75B8-84FB-D099CBEC0B59}"/>
          </ac:spMkLst>
        </pc:spChg>
        <pc:spChg chg="add del mod modVis">
          <ac:chgData name="Schleicher, Keith" userId="884556d8-3218-47e5-8867-331bdb0fe637" providerId="ADAL" clId="{5F36FADA-656D-4DB6-B22C-4E0865A45C88}" dt="2024-08-27T18:45:54.405" v="6235"/>
          <ac:spMkLst>
            <pc:docMk/>
            <pc:sldMk cId="2216104514" sldId="270"/>
            <ac:spMk id="24" creationId="{FC448B1E-FB30-E74D-5204-32B679D029C2}"/>
          </ac:spMkLst>
        </pc:spChg>
        <pc:spChg chg="add del mod replST">
          <ac:chgData name="Schleicher, Keith" userId="884556d8-3218-47e5-8867-331bdb0fe637" providerId="ADAL" clId="{5F36FADA-656D-4DB6-B22C-4E0865A45C88}" dt="2024-08-27T18:46:26.307" v="6299"/>
          <ac:spMkLst>
            <pc:docMk/>
            <pc:sldMk cId="2216104514" sldId="270"/>
            <ac:spMk id="25" creationId="{79AEA9FE-A88D-CD99-FCF7-A5566720F73A}"/>
          </ac:spMkLst>
        </pc:spChg>
        <pc:spChg chg="add mod replST">
          <ac:chgData name="Schleicher, Keith" userId="884556d8-3218-47e5-8867-331bdb0fe637" providerId="ADAL" clId="{5F36FADA-656D-4DB6-B22C-4E0865A45C88}" dt="2024-09-16T21:23:50.192" v="9258" actId="948"/>
          <ac:spMkLst>
            <pc:docMk/>
            <pc:sldMk cId="2216104514" sldId="270"/>
            <ac:spMk id="26" creationId="{1F6B574B-20BF-E266-22F3-2CB86D810294}"/>
          </ac:spMkLst>
        </pc:spChg>
        <pc:spChg chg="add del mod modVis">
          <ac:chgData name="Schleicher, Keith" userId="884556d8-3218-47e5-8867-331bdb0fe637" providerId="ADAL" clId="{5F36FADA-656D-4DB6-B22C-4E0865A45C88}" dt="2024-08-27T18:46:30.259" v="6352"/>
          <ac:spMkLst>
            <pc:docMk/>
            <pc:sldMk cId="2216104514" sldId="270"/>
            <ac:spMk id="27" creationId="{D21E48E1-2FD8-E5C4-F392-010A1E8FE547}"/>
          </ac:spMkLst>
        </pc:spChg>
        <pc:spChg chg="add del mod modVis">
          <ac:chgData name="Schleicher, Keith" userId="884556d8-3218-47e5-8867-331bdb0fe637" providerId="ADAL" clId="{5F36FADA-656D-4DB6-B22C-4E0865A45C88}" dt="2024-08-27T18:47:05.753" v="6611"/>
          <ac:spMkLst>
            <pc:docMk/>
            <pc:sldMk cId="2216104514" sldId="270"/>
            <ac:spMk id="28" creationId="{22EC160A-E7E1-5920-1798-99841E836DD9}"/>
          </ac:spMkLst>
        </pc:spChg>
        <pc:graphicFrameChg chg="add mod ord modVis replST">
          <ac:chgData name="Schleicher, Keith" userId="884556d8-3218-47e5-8867-331bdb0fe637" providerId="ADAL" clId="{5F36FADA-656D-4DB6-B22C-4E0865A45C88}" dt="2024-09-16T21:23:50.208" v="9266"/>
          <ac:graphicFrameMkLst>
            <pc:docMk/>
            <pc:sldMk cId="2216104514" sldId="270"/>
            <ac:graphicFrameMk id="4" creationId="{92AE5BB1-1C52-A18C-2424-D720FF116BBD}"/>
          </ac:graphicFrameMkLst>
        </pc:graphicFrameChg>
      </pc:sldChg>
      <pc:sldChg chg="addSp delSp modSp new add mod">
        <pc:chgData name="Schleicher, Keith" userId="884556d8-3218-47e5-8867-331bdb0fe637" providerId="ADAL" clId="{5F36FADA-656D-4DB6-B22C-4E0865A45C88}" dt="2024-08-28T17:38:42.193" v="8319" actId="313"/>
        <pc:sldMkLst>
          <pc:docMk/>
          <pc:sldMk cId="1991364712" sldId="271"/>
        </pc:sldMkLst>
        <pc:spChg chg="mod">
          <ac:chgData name="Schleicher, Keith" userId="884556d8-3218-47e5-8867-331bdb0fe637" providerId="ADAL" clId="{5F36FADA-656D-4DB6-B22C-4E0865A45C88}" dt="2024-08-28T17:23:14.379" v="7726" actId="948"/>
          <ac:spMkLst>
            <pc:docMk/>
            <pc:sldMk cId="1991364712" sldId="271"/>
            <ac:spMk id="2" creationId="{32C9BE89-9EAB-6C53-E22F-B9D644061B63}"/>
          </ac:spMkLst>
        </pc:spChg>
        <pc:spChg chg="mod">
          <ac:chgData name="Schleicher, Keith" userId="884556d8-3218-47e5-8867-331bdb0fe637" providerId="ADAL" clId="{5F36FADA-656D-4DB6-B22C-4E0865A45C88}" dt="2024-08-28T17:38:42.193" v="8319" actId="313"/>
          <ac:spMkLst>
            <pc:docMk/>
            <pc:sldMk cId="1991364712" sldId="271"/>
            <ac:spMk id="3" creationId="{88F88CBB-FE08-08CC-B450-5133EAE0DA08}"/>
          </ac:spMkLst>
        </pc:spChg>
        <pc:spChg chg="mod">
          <ac:chgData name="Schleicher, Keith" userId="884556d8-3218-47e5-8867-331bdb0fe637" providerId="ADAL" clId="{5F36FADA-656D-4DB6-B22C-4E0865A45C88}" dt="2024-08-28T17:38:21.627" v="8318" actId="12"/>
          <ac:spMkLst>
            <pc:docMk/>
            <pc:sldMk cId="1991364712" sldId="271"/>
            <ac:spMk id="4" creationId="{18CBEFB0-56C5-C8AE-E48B-233CFFB14F8F}"/>
          </ac:spMkLst>
        </pc:spChg>
        <pc:spChg chg="mod">
          <ac:chgData name="Schleicher, Keith" userId="884556d8-3218-47e5-8867-331bdb0fe637" providerId="ADAL" clId="{5F36FADA-656D-4DB6-B22C-4E0865A45C88}" dt="2024-08-28T17:33:28.376" v="7805" actId="20577"/>
          <ac:spMkLst>
            <pc:docMk/>
            <pc:sldMk cId="1991364712" sldId="271"/>
            <ac:spMk id="5" creationId="{656DB7AB-8D3F-152C-C0E3-A478D2113411}"/>
          </ac:spMkLst>
        </pc:spChg>
        <pc:spChg chg="mod">
          <ac:chgData name="Schleicher, Keith" userId="884556d8-3218-47e5-8867-331bdb0fe637" providerId="ADAL" clId="{5F36FADA-656D-4DB6-B22C-4E0865A45C88}" dt="2024-08-28T17:38:21.627" v="8318" actId="12"/>
          <ac:spMkLst>
            <pc:docMk/>
            <pc:sldMk cId="1991364712" sldId="271"/>
            <ac:spMk id="6" creationId="{E73A1DA4-7B07-5FCD-EB39-C4F0FB01065A}"/>
          </ac:spMkLst>
        </pc:spChg>
        <pc:spChg chg="mod">
          <ac:chgData name="Schleicher, Keith" userId="884556d8-3218-47e5-8867-331bdb0fe637" providerId="ADAL" clId="{5F36FADA-656D-4DB6-B22C-4E0865A45C88}" dt="2024-08-28T17:33:41.195" v="7834" actId="20577"/>
          <ac:spMkLst>
            <pc:docMk/>
            <pc:sldMk cId="1991364712" sldId="271"/>
            <ac:spMk id="7" creationId="{B5A65461-501A-1D3E-C110-6EFD47254308}"/>
          </ac:spMkLst>
        </pc:spChg>
        <pc:spChg chg="mod">
          <ac:chgData name="Schleicher, Keith" userId="884556d8-3218-47e5-8867-331bdb0fe637" providerId="ADAL" clId="{5F36FADA-656D-4DB6-B22C-4E0865A45C88}" dt="2024-08-28T17:38:21.627" v="8318" actId="12"/>
          <ac:spMkLst>
            <pc:docMk/>
            <pc:sldMk cId="1991364712" sldId="271"/>
            <ac:spMk id="8" creationId="{9EB35ADC-A1D6-6C7E-D26A-B0CB3B5FBC3B}"/>
          </ac:spMkLst>
        </pc:spChg>
        <pc:spChg chg="add del mod modVis">
          <ac:chgData name="Schleicher, Keith" userId="884556d8-3218-47e5-8867-331bdb0fe637" providerId="ADAL" clId="{5F36FADA-656D-4DB6-B22C-4E0865A45C88}" dt="2024-08-28T17:23:04.084" v="7523"/>
          <ac:spMkLst>
            <pc:docMk/>
            <pc:sldMk cId="1991364712" sldId="271"/>
            <ac:spMk id="9" creationId="{B629FF56-00E3-4695-F2D2-5890C1901AAA}"/>
          </ac:spMkLst>
        </pc:spChg>
        <pc:spChg chg="add del mod modVis">
          <ac:chgData name="Schleicher, Keith" userId="884556d8-3218-47e5-8867-331bdb0fe637" providerId="ADAL" clId="{5F36FADA-656D-4DB6-B22C-4E0865A45C88}" dt="2024-08-28T17:23:05.057" v="7567"/>
          <ac:spMkLst>
            <pc:docMk/>
            <pc:sldMk cId="1991364712" sldId="271"/>
            <ac:spMk id="11" creationId="{FF89C6FB-B2F9-A3CB-91DD-357FB0F057E9}"/>
          </ac:spMkLst>
        </pc:spChg>
        <pc:spChg chg="add del mod modVis">
          <ac:chgData name="Schleicher, Keith" userId="884556d8-3218-47e5-8867-331bdb0fe637" providerId="ADAL" clId="{5F36FADA-656D-4DB6-B22C-4E0865A45C88}" dt="2024-08-28T17:23:06.970" v="7598"/>
          <ac:spMkLst>
            <pc:docMk/>
            <pc:sldMk cId="1991364712" sldId="271"/>
            <ac:spMk id="12" creationId="{D318D787-26AB-F371-66DE-0687EB4B5E2E}"/>
          </ac:spMkLst>
        </pc:spChg>
        <pc:spChg chg="add del mod modVis">
          <ac:chgData name="Schleicher, Keith" userId="884556d8-3218-47e5-8867-331bdb0fe637" providerId="ADAL" clId="{5F36FADA-656D-4DB6-B22C-4E0865A45C88}" dt="2024-08-28T17:23:07.629" v="7626"/>
          <ac:spMkLst>
            <pc:docMk/>
            <pc:sldMk cId="1991364712" sldId="271"/>
            <ac:spMk id="13" creationId="{B7A4612D-3C7A-BF3E-8338-98FF40F61493}"/>
          </ac:spMkLst>
        </pc:spChg>
        <pc:spChg chg="add del mod modVis">
          <ac:chgData name="Schleicher, Keith" userId="884556d8-3218-47e5-8867-331bdb0fe637" providerId="ADAL" clId="{5F36FADA-656D-4DB6-B22C-4E0865A45C88}" dt="2024-08-28T17:23:08.960" v="7658"/>
          <ac:spMkLst>
            <pc:docMk/>
            <pc:sldMk cId="1991364712" sldId="271"/>
            <ac:spMk id="14" creationId="{65FC862D-205D-FCAC-C326-3E905AEBB687}"/>
          </ac:spMkLst>
        </pc:spChg>
        <pc:spChg chg="add del mod modVis">
          <ac:chgData name="Schleicher, Keith" userId="884556d8-3218-47e5-8867-331bdb0fe637" providerId="ADAL" clId="{5F36FADA-656D-4DB6-B22C-4E0865A45C88}" dt="2024-08-28T17:23:10.093" v="7687"/>
          <ac:spMkLst>
            <pc:docMk/>
            <pc:sldMk cId="1991364712" sldId="271"/>
            <ac:spMk id="15" creationId="{484E9A11-24AE-808D-9A94-85C810F50A03}"/>
          </ac:spMkLst>
        </pc:spChg>
        <pc:spChg chg="add del mod modVis">
          <ac:chgData name="Schleicher, Keith" userId="884556d8-3218-47e5-8867-331bdb0fe637" providerId="ADAL" clId="{5F36FADA-656D-4DB6-B22C-4E0865A45C88}" dt="2024-08-28T17:23:13.437" v="7722"/>
          <ac:spMkLst>
            <pc:docMk/>
            <pc:sldMk cId="1991364712" sldId="271"/>
            <ac:spMk id="16" creationId="{0F48CFCE-6F53-B572-B258-6CE496E071C6}"/>
          </ac:spMkLst>
        </pc:spChg>
        <pc:spChg chg="add del mod modVis">
          <ac:chgData name="Schleicher, Keith" userId="884556d8-3218-47e5-8867-331bdb0fe637" providerId="ADAL" clId="{5F36FADA-656D-4DB6-B22C-4E0865A45C88}" dt="2024-08-28T17:23:14.410" v="7750"/>
          <ac:spMkLst>
            <pc:docMk/>
            <pc:sldMk cId="1991364712" sldId="271"/>
            <ac:spMk id="17" creationId="{B836EC5A-84C2-C1F3-BCA3-ABCA26240BF0}"/>
          </ac:spMkLst>
        </pc:spChg>
        <pc:graphicFrameChg chg="add mod ord modVis replST">
          <ac:chgData name="Schleicher, Keith" userId="884556d8-3218-47e5-8867-331bdb0fe637" providerId="ADAL" clId="{5F36FADA-656D-4DB6-B22C-4E0865A45C88}" dt="2024-08-28T17:23:14.410" v="7752"/>
          <ac:graphicFrameMkLst>
            <pc:docMk/>
            <pc:sldMk cId="1991364712" sldId="271"/>
            <ac:graphicFrameMk id="10" creationId="{E7C5317B-4E6D-3474-C4CC-8825238DCE24}"/>
          </ac:graphicFrameMkLst>
        </pc:graphicFrameChg>
      </pc:sldChg>
      <pc:sldChg chg="addSp delSp modSp new add mod modClrScheme chgLayout">
        <pc:chgData name="Schleicher, Keith" userId="884556d8-3218-47e5-8867-331bdb0fe637" providerId="ADAL" clId="{5F36FADA-656D-4DB6-B22C-4E0865A45C88}" dt="2024-09-16T21:37:02.283" v="9625"/>
        <pc:sldMkLst>
          <pc:docMk/>
          <pc:sldMk cId="4021162336" sldId="272"/>
        </pc:sldMkLst>
        <pc:spChg chg="mod ord">
          <ac:chgData name="Schleicher, Keith" userId="884556d8-3218-47e5-8867-331bdb0fe637" providerId="ADAL" clId="{5F36FADA-656D-4DB6-B22C-4E0865A45C88}" dt="2024-09-16T21:37:02.236" v="9599" actId="948"/>
          <ac:spMkLst>
            <pc:docMk/>
            <pc:sldMk cId="4021162336" sldId="272"/>
            <ac:spMk id="2" creationId="{7FF6BF0A-4BBC-D123-FF10-259F7A219DB6}"/>
          </ac:spMkLst>
        </pc:spChg>
        <pc:spChg chg="add del mod modVis">
          <ac:chgData name="Schleicher, Keith" userId="884556d8-3218-47e5-8867-331bdb0fe637" providerId="ADAL" clId="{5F36FADA-656D-4DB6-B22C-4E0865A45C88}" dt="2024-09-16T21:34:07.581" v="9319"/>
          <ac:spMkLst>
            <pc:docMk/>
            <pc:sldMk cId="4021162336" sldId="272"/>
            <ac:spMk id="4" creationId="{0B3BF2CE-E23E-11E2-4DF5-005719074C47}"/>
          </ac:spMkLst>
        </pc:spChg>
        <pc:spChg chg="add del mod modVis">
          <ac:chgData name="Schleicher, Keith" userId="884556d8-3218-47e5-8867-331bdb0fe637" providerId="ADAL" clId="{5F36FADA-656D-4DB6-B22C-4E0865A45C88}" dt="2024-09-16T21:34:08.195" v="9347"/>
          <ac:spMkLst>
            <pc:docMk/>
            <pc:sldMk cId="4021162336" sldId="272"/>
            <ac:spMk id="5" creationId="{144BDCF6-6C2C-5F37-23B3-8A3EB7F6775A}"/>
          </ac:spMkLst>
        </pc:spChg>
        <pc:spChg chg="add del mod modVis">
          <ac:chgData name="Schleicher, Keith" userId="884556d8-3218-47e5-8867-331bdb0fe637" providerId="ADAL" clId="{5F36FADA-656D-4DB6-B22C-4E0865A45C88}" dt="2024-09-16T21:34:10.052" v="9383"/>
          <ac:spMkLst>
            <pc:docMk/>
            <pc:sldMk cId="4021162336" sldId="272"/>
            <ac:spMk id="6" creationId="{BEF8C256-C880-FA96-3753-FEF7F90E25AD}"/>
          </ac:spMkLst>
        </pc:spChg>
        <pc:spChg chg="add del mod modVis">
          <ac:chgData name="Schleicher, Keith" userId="884556d8-3218-47e5-8867-331bdb0fe637" providerId="ADAL" clId="{5F36FADA-656D-4DB6-B22C-4E0865A45C88}" dt="2024-09-16T21:34:10.729" v="9411"/>
          <ac:spMkLst>
            <pc:docMk/>
            <pc:sldMk cId="4021162336" sldId="272"/>
            <ac:spMk id="7" creationId="{6EFD247A-8CE4-4A87-315E-8AA4F65EF956}"/>
          </ac:spMkLst>
        </pc:spChg>
        <pc:spChg chg="add del mod ord">
          <ac:chgData name="Schleicher, Keith" userId="884556d8-3218-47e5-8867-331bdb0fe637" providerId="ADAL" clId="{5F36FADA-656D-4DB6-B22C-4E0865A45C88}" dt="2024-09-16T21:34:55.469" v="9420"/>
          <ac:spMkLst>
            <pc:docMk/>
            <pc:sldMk cId="4021162336" sldId="272"/>
            <ac:spMk id="9" creationId="{D30F04B7-A7B7-515F-A231-173116E8B370}"/>
          </ac:spMkLst>
        </pc:spChg>
        <pc:spChg chg="add mod ord">
          <ac:chgData name="Schleicher, Keith" userId="884556d8-3218-47e5-8867-331bdb0fe637" providerId="ADAL" clId="{5F36FADA-656D-4DB6-B22C-4E0865A45C88}" dt="2024-09-16T21:35:55.673" v="9454" actId="14100"/>
          <ac:spMkLst>
            <pc:docMk/>
            <pc:sldMk cId="4021162336" sldId="272"/>
            <ac:spMk id="10" creationId="{FC27660D-A899-AAFE-A586-98A0D837A9E9}"/>
          </ac:spMkLst>
        </pc:spChg>
        <pc:spChg chg="add del mod modVis">
          <ac:chgData name="Schleicher, Keith" userId="884556d8-3218-47e5-8867-331bdb0fe637" providerId="ADAL" clId="{5F36FADA-656D-4DB6-B22C-4E0865A45C88}" dt="2024-09-16T21:36:56.937" v="9495"/>
          <ac:spMkLst>
            <pc:docMk/>
            <pc:sldMk cId="4021162336" sldId="272"/>
            <ac:spMk id="12" creationId="{A1295360-9AE0-63FD-12D5-8004B02C7032}"/>
          </ac:spMkLst>
        </pc:spChg>
        <pc:spChg chg="add del mod modVis">
          <ac:chgData name="Schleicher, Keith" userId="884556d8-3218-47e5-8867-331bdb0fe637" providerId="ADAL" clId="{5F36FADA-656D-4DB6-B22C-4E0865A45C88}" dt="2024-09-16T21:36:58.053" v="9527"/>
          <ac:spMkLst>
            <pc:docMk/>
            <pc:sldMk cId="4021162336" sldId="272"/>
            <ac:spMk id="13" creationId="{6B40448D-0807-6F5E-4775-5F7D8051E9DF}"/>
          </ac:spMkLst>
        </pc:spChg>
        <pc:spChg chg="add del mod modVis">
          <ac:chgData name="Schleicher, Keith" userId="884556d8-3218-47e5-8867-331bdb0fe637" providerId="ADAL" clId="{5F36FADA-656D-4DB6-B22C-4E0865A45C88}" dt="2024-09-16T21:36:58.888" v="9556"/>
          <ac:spMkLst>
            <pc:docMk/>
            <pc:sldMk cId="4021162336" sldId="272"/>
            <ac:spMk id="14" creationId="{2A107FB8-6ACC-4518-154F-39C5B129C520}"/>
          </ac:spMkLst>
        </pc:spChg>
        <pc:spChg chg="add del mod modVis">
          <ac:chgData name="Schleicher, Keith" userId="884556d8-3218-47e5-8867-331bdb0fe637" providerId="ADAL" clId="{5F36FADA-656D-4DB6-B22C-4E0865A45C88}" dt="2024-09-16T21:37:00.445" v="9592"/>
          <ac:spMkLst>
            <pc:docMk/>
            <pc:sldMk cId="4021162336" sldId="272"/>
            <ac:spMk id="15" creationId="{EB61A08D-7FD9-7070-15AB-ED928FEE1701}"/>
          </ac:spMkLst>
        </pc:spChg>
        <pc:spChg chg="add del mod modVis">
          <ac:chgData name="Schleicher, Keith" userId="884556d8-3218-47e5-8867-331bdb0fe637" providerId="ADAL" clId="{5F36FADA-656D-4DB6-B22C-4E0865A45C88}" dt="2024-09-16T21:37:02.267" v="9623"/>
          <ac:spMkLst>
            <pc:docMk/>
            <pc:sldMk cId="4021162336" sldId="272"/>
            <ac:spMk id="16" creationId="{6E43FFF4-DC13-E194-36AC-E3343E0F0AA6}"/>
          </ac:spMkLst>
        </pc:spChg>
        <pc:graphicFrameChg chg="add mod ord modVis replST">
          <ac:chgData name="Schleicher, Keith" userId="884556d8-3218-47e5-8867-331bdb0fe637" providerId="ADAL" clId="{5F36FADA-656D-4DB6-B22C-4E0865A45C88}" dt="2024-09-16T21:37:02.283" v="9625"/>
          <ac:graphicFrameMkLst>
            <pc:docMk/>
            <pc:sldMk cId="4021162336" sldId="272"/>
            <ac:graphicFrameMk id="3" creationId="{131836F3-A4CE-9FC9-3E61-D5EFC0BAF8CF}"/>
          </ac:graphicFrameMkLst>
        </pc:graphicFrameChg>
        <pc:picChg chg="add del mod">
          <ac:chgData name="Schleicher, Keith" userId="884556d8-3218-47e5-8867-331bdb0fe637" providerId="ADAL" clId="{5F36FADA-656D-4DB6-B22C-4E0865A45C88}" dt="2024-09-16T21:34:50.289" v="9419" actId="21"/>
          <ac:picMkLst>
            <pc:docMk/>
            <pc:sldMk cId="4021162336" sldId="272"/>
            <ac:picMk id="8" creationId="{5A77A5C0-8DC3-93B3-63CE-D1C871754E65}"/>
          </ac:picMkLst>
        </pc:picChg>
        <pc:picChg chg="add mod">
          <ac:chgData name="Schleicher, Keith" userId="884556d8-3218-47e5-8867-331bdb0fe637" providerId="ADAL" clId="{5F36FADA-656D-4DB6-B22C-4E0865A45C88}" dt="2024-09-16T21:34:57.937" v="9421" actId="1076"/>
          <ac:picMkLst>
            <pc:docMk/>
            <pc:sldMk cId="4021162336" sldId="272"/>
            <ac:picMk id="11" creationId="{6BA46709-D587-659C-DE22-2C09BA6E2BEB}"/>
          </ac:picMkLst>
        </pc:picChg>
      </pc:sldChg>
      <pc:sldChg chg="addSp delSp modSp add mod">
        <pc:chgData name="Schleicher, Keith" userId="884556d8-3218-47e5-8867-331bdb0fe637" providerId="ADAL" clId="{5F36FADA-656D-4DB6-B22C-4E0865A45C88}" dt="2024-09-23T16:51:44.087" v="10625"/>
        <pc:sldMkLst>
          <pc:docMk/>
          <pc:sldMk cId="1886582190" sldId="273"/>
        </pc:sldMkLst>
        <pc:spChg chg="mod">
          <ac:chgData name="Schleicher, Keith" userId="884556d8-3218-47e5-8867-331bdb0fe637" providerId="ADAL" clId="{5F36FADA-656D-4DB6-B22C-4E0865A45C88}" dt="2024-09-23T16:51:44.071" v="10600" actId="948"/>
          <ac:spMkLst>
            <pc:docMk/>
            <pc:sldMk cId="1886582190" sldId="273"/>
            <ac:spMk id="2" creationId="{26C2B139-4F19-7F71-0739-B8A128607660}"/>
          </ac:spMkLst>
        </pc:spChg>
        <pc:spChg chg="del">
          <ac:chgData name="Schleicher, Keith" userId="884556d8-3218-47e5-8867-331bdb0fe637" providerId="ADAL" clId="{5F36FADA-656D-4DB6-B22C-4E0865A45C88}" dt="2024-09-23T16:51:31.612" v="10483" actId="478"/>
          <ac:spMkLst>
            <pc:docMk/>
            <pc:sldMk cId="1886582190" sldId="273"/>
            <ac:spMk id="3" creationId="{261DFCA7-0117-082C-B6CB-2B673F98B69E}"/>
          </ac:spMkLst>
        </pc:spChg>
        <pc:spChg chg="add del mod">
          <ac:chgData name="Schleicher, Keith" userId="884556d8-3218-47e5-8867-331bdb0fe637" providerId="ADAL" clId="{5F36FADA-656D-4DB6-B22C-4E0865A45C88}" dt="2024-09-23T16:51:33.790" v="10484" actId="478"/>
          <ac:spMkLst>
            <pc:docMk/>
            <pc:sldMk cId="1886582190" sldId="273"/>
            <ac:spMk id="6" creationId="{17B5B82D-303D-8B33-97B1-E5EB48B4E65B}"/>
          </ac:spMkLst>
        </pc:spChg>
        <pc:spChg chg="add del mod modVis">
          <ac:chgData name="Schleicher, Keith" userId="884556d8-3218-47e5-8867-331bdb0fe637" providerId="ADAL" clId="{5F36FADA-656D-4DB6-B22C-4E0865A45C88}" dt="2024-09-23T16:51:37.987" v="10516"/>
          <ac:spMkLst>
            <pc:docMk/>
            <pc:sldMk cId="1886582190" sldId="273"/>
            <ac:spMk id="7" creationId="{35EFE8C1-D0A2-58C4-B682-B5BD286011C1}"/>
          </ac:spMkLst>
        </pc:spChg>
        <pc:spChg chg="add del mod modVis">
          <ac:chgData name="Schleicher, Keith" userId="884556d8-3218-47e5-8867-331bdb0fe637" providerId="ADAL" clId="{5F36FADA-656D-4DB6-B22C-4E0865A45C88}" dt="2024-09-23T16:51:39.152" v="10544"/>
          <ac:spMkLst>
            <pc:docMk/>
            <pc:sldMk cId="1886582190" sldId="273"/>
            <ac:spMk id="8" creationId="{FCA0F267-AFD7-B786-2ABC-B6EF9DD1158F}"/>
          </ac:spMkLst>
        </pc:spChg>
        <pc:spChg chg="add del mod modVis">
          <ac:chgData name="Schleicher, Keith" userId="884556d8-3218-47e5-8867-331bdb0fe637" providerId="ADAL" clId="{5F36FADA-656D-4DB6-B22C-4E0865A45C88}" dt="2024-09-23T16:51:39.859" v="10570"/>
          <ac:spMkLst>
            <pc:docMk/>
            <pc:sldMk cId="1886582190" sldId="273"/>
            <ac:spMk id="9" creationId="{2894721C-8A66-4406-7931-3C8085E94E9B}"/>
          </ac:spMkLst>
        </pc:spChg>
        <pc:spChg chg="add del mod modVis">
          <ac:chgData name="Schleicher, Keith" userId="884556d8-3218-47e5-8867-331bdb0fe637" providerId="ADAL" clId="{5F36FADA-656D-4DB6-B22C-4E0865A45C88}" dt="2024-09-23T16:51:42.904" v="10596"/>
          <ac:spMkLst>
            <pc:docMk/>
            <pc:sldMk cId="1886582190" sldId="273"/>
            <ac:spMk id="10" creationId="{5E040CBA-755D-DF0F-7E6A-2B6444F38A34}"/>
          </ac:spMkLst>
        </pc:spChg>
        <pc:spChg chg="add del mod modVis">
          <ac:chgData name="Schleicher, Keith" userId="884556d8-3218-47e5-8867-331bdb0fe637" providerId="ADAL" clId="{5F36FADA-656D-4DB6-B22C-4E0865A45C88}" dt="2024-09-23T16:51:44.087" v="10623"/>
          <ac:spMkLst>
            <pc:docMk/>
            <pc:sldMk cId="1886582190" sldId="273"/>
            <ac:spMk id="11" creationId="{0D305181-3328-3BD6-1A51-FB974A9A3787}"/>
          </ac:spMkLst>
        </pc:spChg>
        <pc:graphicFrameChg chg="mod">
          <ac:chgData name="Schleicher, Keith" userId="884556d8-3218-47e5-8867-331bdb0fe637" providerId="ADAL" clId="{5F36FADA-656D-4DB6-B22C-4E0865A45C88}" dt="2024-09-23T16:51:44.087" v="10625"/>
          <ac:graphicFrameMkLst>
            <pc:docMk/>
            <pc:sldMk cId="1886582190" sldId="273"/>
            <ac:graphicFrameMk id="4" creationId="{D4681789-6C51-66C5-5E15-5394B1508B2C}"/>
          </ac:graphicFrameMkLst>
        </pc:graphicFrameChg>
      </pc:sldChg>
      <pc:sldChg chg="addSp delSp modSp new add del mod">
        <pc:chgData name="Schleicher, Keith" userId="884556d8-3218-47e5-8867-331bdb0fe637" providerId="ADAL" clId="{5F36FADA-656D-4DB6-B22C-4E0865A45C88}" dt="2024-09-23T17:00:18.858" v="11740" actId="47"/>
        <pc:sldMkLst>
          <pc:docMk/>
          <pc:sldMk cId="4284232640" sldId="274"/>
        </pc:sldMkLst>
        <pc:spChg chg="mod">
          <ac:chgData name="Schleicher, Keith" userId="884556d8-3218-47e5-8867-331bdb0fe637" providerId="ADAL" clId="{5F36FADA-656D-4DB6-B22C-4E0865A45C88}" dt="2024-09-23T16:53:22.818" v="10751" actId="20577"/>
          <ac:spMkLst>
            <pc:docMk/>
            <pc:sldMk cId="4284232640" sldId="274"/>
            <ac:spMk id="2" creationId="{57D7F258-7F8C-0A8F-DB2E-6A0DFEF95F30}"/>
          </ac:spMkLst>
        </pc:spChg>
        <pc:spChg chg="add del mod modVis">
          <ac:chgData name="Schleicher, Keith" userId="884556d8-3218-47e5-8867-331bdb0fe637" providerId="ADAL" clId="{5F36FADA-656D-4DB6-B22C-4E0865A45C88}" dt="2024-09-23T16:53:07.287" v="10676"/>
          <ac:spMkLst>
            <pc:docMk/>
            <pc:sldMk cId="4284232640" sldId="274"/>
            <ac:spMk id="5" creationId="{6C535B38-46C7-4705-1A5E-5A368E51758D}"/>
          </ac:spMkLst>
        </pc:spChg>
        <pc:spChg chg="add del mod modVis">
          <ac:chgData name="Schleicher, Keith" userId="884556d8-3218-47e5-8867-331bdb0fe637" providerId="ADAL" clId="{5F36FADA-656D-4DB6-B22C-4E0865A45C88}" dt="2024-09-23T16:53:11.451" v="10702"/>
          <ac:spMkLst>
            <pc:docMk/>
            <pc:sldMk cId="4284232640" sldId="274"/>
            <ac:spMk id="6" creationId="{46D9D9FE-D12C-F4A1-594E-B2840A97A4A3}"/>
          </ac:spMkLst>
        </pc:spChg>
        <pc:spChg chg="add del mod modVis">
          <ac:chgData name="Schleicher, Keith" userId="884556d8-3218-47e5-8867-331bdb0fe637" providerId="ADAL" clId="{5F36FADA-656D-4DB6-B22C-4E0865A45C88}" dt="2024-09-23T16:53:12.268" v="10729"/>
          <ac:spMkLst>
            <pc:docMk/>
            <pc:sldMk cId="4284232640" sldId="274"/>
            <ac:spMk id="7" creationId="{60D9DF12-DFC6-4AB6-E0A5-900536C99C80}"/>
          </ac:spMkLst>
        </pc:spChg>
        <pc:graphicFrameChg chg="add mod ord modVis replST">
          <ac:chgData name="Schleicher, Keith" userId="884556d8-3218-47e5-8867-331bdb0fe637" providerId="ADAL" clId="{5F36FADA-656D-4DB6-B22C-4E0865A45C88}" dt="2024-09-23T16:53:23.322" v="10753"/>
          <ac:graphicFrameMkLst>
            <pc:docMk/>
            <pc:sldMk cId="4284232640" sldId="274"/>
            <ac:graphicFrameMk id="4" creationId="{743B50DE-8A03-369B-5DCD-DEC58737FF1F}"/>
          </ac:graphicFrameMkLst>
        </pc:graphicFrameChg>
      </pc:sldChg>
      <pc:sldChg chg="addSp delSp modSp new add del mod">
        <pc:chgData name="Schleicher, Keith" userId="884556d8-3218-47e5-8867-331bdb0fe637" providerId="ADAL" clId="{5F36FADA-656D-4DB6-B22C-4E0865A45C88}" dt="2024-09-23T17:00:23.814" v="11741" actId="47"/>
        <pc:sldMkLst>
          <pc:docMk/>
          <pc:sldMk cId="2027598796" sldId="275"/>
        </pc:sldMkLst>
        <pc:spChg chg="mod">
          <ac:chgData name="Schleicher, Keith" userId="884556d8-3218-47e5-8867-331bdb0fe637" providerId="ADAL" clId="{5F36FADA-656D-4DB6-B22C-4E0865A45C88}" dt="2024-09-23T16:53:50.948" v="10930" actId="948"/>
          <ac:spMkLst>
            <pc:docMk/>
            <pc:sldMk cId="2027598796" sldId="275"/>
            <ac:spMk id="2" creationId="{0FAAFC7F-2AF6-B1AF-9A0F-C72BC015B551}"/>
          </ac:spMkLst>
        </pc:spChg>
        <pc:spChg chg="mod">
          <ac:chgData name="Schleicher, Keith" userId="884556d8-3218-47e5-8867-331bdb0fe637" providerId="ADAL" clId="{5F36FADA-656D-4DB6-B22C-4E0865A45C88}" dt="2024-09-23T16:54:38.148" v="11048" actId="20577"/>
          <ac:spMkLst>
            <pc:docMk/>
            <pc:sldMk cId="2027598796" sldId="275"/>
            <ac:spMk id="3" creationId="{8A6E6D3D-59CE-F330-8E71-B3F12E70366F}"/>
          </ac:spMkLst>
        </pc:spChg>
        <pc:spChg chg="add del mod modVis">
          <ac:chgData name="Schleicher, Keith" userId="884556d8-3218-47e5-8867-331bdb0fe637" providerId="ADAL" clId="{5F36FADA-656D-4DB6-B22C-4E0865A45C88}" dt="2024-09-23T16:53:39.699" v="10813"/>
          <ac:spMkLst>
            <pc:docMk/>
            <pc:sldMk cId="2027598796" sldId="275"/>
            <ac:spMk id="5" creationId="{0A2A7378-3429-8C79-145A-49C835C054D4}"/>
          </ac:spMkLst>
        </pc:spChg>
        <pc:spChg chg="add del mod modVis">
          <ac:chgData name="Schleicher, Keith" userId="884556d8-3218-47e5-8867-331bdb0fe637" providerId="ADAL" clId="{5F36FADA-656D-4DB6-B22C-4E0865A45C88}" dt="2024-09-23T16:53:41.002" v="10843"/>
          <ac:spMkLst>
            <pc:docMk/>
            <pc:sldMk cId="2027598796" sldId="275"/>
            <ac:spMk id="6" creationId="{72BDAC61-9039-F751-D878-DC12D48E0E3B}"/>
          </ac:spMkLst>
        </pc:spChg>
        <pc:spChg chg="add del mod modVis">
          <ac:chgData name="Schleicher, Keith" userId="884556d8-3218-47e5-8867-331bdb0fe637" providerId="ADAL" clId="{5F36FADA-656D-4DB6-B22C-4E0865A45C88}" dt="2024-09-23T16:53:42.477" v="10872"/>
          <ac:spMkLst>
            <pc:docMk/>
            <pc:sldMk cId="2027598796" sldId="275"/>
            <ac:spMk id="7" creationId="{2579A64D-51FA-CB48-F903-CB29C9BBB9A8}"/>
          </ac:spMkLst>
        </pc:spChg>
        <pc:spChg chg="add del mod modVis">
          <ac:chgData name="Schleicher, Keith" userId="884556d8-3218-47e5-8867-331bdb0fe637" providerId="ADAL" clId="{5F36FADA-656D-4DB6-B22C-4E0865A45C88}" dt="2024-09-23T16:53:43.957" v="10900"/>
          <ac:spMkLst>
            <pc:docMk/>
            <pc:sldMk cId="2027598796" sldId="275"/>
            <ac:spMk id="8" creationId="{188CC253-BD38-A7B1-6991-4AD0DBD07601}"/>
          </ac:spMkLst>
        </pc:spChg>
        <pc:spChg chg="add del mod modVis">
          <ac:chgData name="Schleicher, Keith" userId="884556d8-3218-47e5-8867-331bdb0fe637" providerId="ADAL" clId="{5F36FADA-656D-4DB6-B22C-4E0865A45C88}" dt="2024-09-23T16:53:45.119" v="10926"/>
          <ac:spMkLst>
            <pc:docMk/>
            <pc:sldMk cId="2027598796" sldId="275"/>
            <ac:spMk id="9" creationId="{89E49295-AF3F-DB69-C871-201F9B94AF41}"/>
          </ac:spMkLst>
        </pc:spChg>
        <pc:spChg chg="add del mod modVis">
          <ac:chgData name="Schleicher, Keith" userId="884556d8-3218-47e5-8867-331bdb0fe637" providerId="ADAL" clId="{5F36FADA-656D-4DB6-B22C-4E0865A45C88}" dt="2024-09-23T16:53:50.980" v="10952"/>
          <ac:spMkLst>
            <pc:docMk/>
            <pc:sldMk cId="2027598796" sldId="275"/>
            <ac:spMk id="10" creationId="{34358E4D-3DB3-C786-3E7D-D49C00FFDF92}"/>
          </ac:spMkLst>
        </pc:spChg>
        <pc:graphicFrameChg chg="add mod ord modVis replST">
          <ac:chgData name="Schleicher, Keith" userId="884556d8-3218-47e5-8867-331bdb0fe637" providerId="ADAL" clId="{5F36FADA-656D-4DB6-B22C-4E0865A45C88}" dt="2024-09-23T16:53:50.980" v="10954"/>
          <ac:graphicFrameMkLst>
            <pc:docMk/>
            <pc:sldMk cId="2027598796" sldId="275"/>
            <ac:graphicFrameMk id="4" creationId="{DD56FBC1-5DD9-042A-B421-7568D6C2CB09}"/>
          </ac:graphicFrameMkLst>
        </pc:graphicFrameChg>
      </pc:sldChg>
      <pc:sldChg chg="addSp delSp modSp new add del mod">
        <pc:chgData name="Schleicher, Keith" userId="884556d8-3218-47e5-8867-331bdb0fe637" providerId="ADAL" clId="{5F36FADA-656D-4DB6-B22C-4E0865A45C88}" dt="2024-09-23T17:33:15.718" v="11750" actId="3064"/>
        <pc:sldMkLst>
          <pc:docMk/>
          <pc:sldMk cId="613007373" sldId="276"/>
        </pc:sldMkLst>
        <pc:spChg chg="mod">
          <ac:chgData name="Schleicher, Keith" userId="884556d8-3218-47e5-8867-331bdb0fe637" providerId="ADAL" clId="{5F36FADA-656D-4DB6-B22C-4E0865A45C88}" dt="2024-09-23T17:00:03.132" v="11715" actId="948"/>
          <ac:spMkLst>
            <pc:docMk/>
            <pc:sldMk cId="613007373" sldId="276"/>
            <ac:spMk id="2" creationId="{E5C158EF-06BA-0E8B-DDB1-DD10C545E829}"/>
          </ac:spMkLst>
        </pc:spChg>
        <pc:spChg chg="del">
          <ac:chgData name="Schleicher, Keith" userId="884556d8-3218-47e5-8867-331bdb0fe637" providerId="ADAL" clId="{5F36FADA-656D-4DB6-B22C-4E0865A45C88}" dt="2024-09-23T16:56:42.329" v="11507" actId="478"/>
          <ac:spMkLst>
            <pc:docMk/>
            <pc:sldMk cId="613007373" sldId="276"/>
            <ac:spMk id="3" creationId="{6AE2FAA2-8307-F9E7-AD03-228509260FC5}"/>
          </ac:spMkLst>
        </pc:spChg>
        <pc:spChg chg="mod">
          <ac:chgData name="Schleicher, Keith" userId="884556d8-3218-47e5-8867-331bdb0fe637" providerId="ADAL" clId="{5F36FADA-656D-4DB6-B22C-4E0865A45C88}" dt="2024-09-23T17:33:15.718" v="11750" actId="3064"/>
          <ac:spMkLst>
            <pc:docMk/>
            <pc:sldMk cId="613007373" sldId="276"/>
            <ac:spMk id="4" creationId="{880EDC74-E9F5-9E79-C8FD-F0B4ECE47C7E}"/>
          </ac:spMkLst>
        </pc:spChg>
        <pc:spChg chg="del">
          <ac:chgData name="Schleicher, Keith" userId="884556d8-3218-47e5-8867-331bdb0fe637" providerId="ADAL" clId="{5F36FADA-656D-4DB6-B22C-4E0865A45C88}" dt="2024-09-23T16:56:42.329" v="11507" actId="478"/>
          <ac:spMkLst>
            <pc:docMk/>
            <pc:sldMk cId="613007373" sldId="276"/>
            <ac:spMk id="5" creationId="{FA3C9BA4-7379-8242-9343-F3334AA63336}"/>
          </ac:spMkLst>
        </pc:spChg>
        <pc:spChg chg="mod">
          <ac:chgData name="Schleicher, Keith" userId="884556d8-3218-47e5-8867-331bdb0fe637" providerId="ADAL" clId="{5F36FADA-656D-4DB6-B22C-4E0865A45C88}" dt="2024-09-23T17:33:11.807" v="11749" actId="3064"/>
          <ac:spMkLst>
            <pc:docMk/>
            <pc:sldMk cId="613007373" sldId="276"/>
            <ac:spMk id="6" creationId="{A0392738-C65C-7A63-C160-FBD3152B1203}"/>
          </ac:spMkLst>
        </pc:spChg>
        <pc:spChg chg="del">
          <ac:chgData name="Schleicher, Keith" userId="884556d8-3218-47e5-8867-331bdb0fe637" providerId="ADAL" clId="{5F36FADA-656D-4DB6-B22C-4E0865A45C88}" dt="2024-09-23T16:56:42.329" v="11507" actId="478"/>
          <ac:spMkLst>
            <pc:docMk/>
            <pc:sldMk cId="613007373" sldId="276"/>
            <ac:spMk id="7" creationId="{0C20149A-B04F-FABB-AD65-D864B553F79C}"/>
          </ac:spMkLst>
        </pc:spChg>
        <pc:spChg chg="mod">
          <ac:chgData name="Schleicher, Keith" userId="884556d8-3218-47e5-8867-331bdb0fe637" providerId="ADAL" clId="{5F36FADA-656D-4DB6-B22C-4E0865A45C88}" dt="2024-09-23T17:33:04.827" v="11748" actId="3064"/>
          <ac:spMkLst>
            <pc:docMk/>
            <pc:sldMk cId="613007373" sldId="276"/>
            <ac:spMk id="8" creationId="{38646628-D075-BC07-494E-21BB2987C6E2}"/>
          </ac:spMkLst>
        </pc:spChg>
        <pc:spChg chg="add del mod modVis">
          <ac:chgData name="Schleicher, Keith" userId="884556d8-3218-47e5-8867-331bdb0fe637" providerId="ADAL" clId="{5F36FADA-656D-4DB6-B22C-4E0865A45C88}" dt="2024-09-23T16:55:04.005" v="11097"/>
          <ac:spMkLst>
            <pc:docMk/>
            <pc:sldMk cId="613007373" sldId="276"/>
            <ac:spMk id="10" creationId="{16FDA3E9-BDE8-E5E0-ECBF-B57C2FFA203F}"/>
          </ac:spMkLst>
        </pc:spChg>
        <pc:spChg chg="add del mod modVis">
          <ac:chgData name="Schleicher, Keith" userId="884556d8-3218-47e5-8867-331bdb0fe637" providerId="ADAL" clId="{5F36FADA-656D-4DB6-B22C-4E0865A45C88}" dt="2024-09-23T16:55:04.805" v="11123"/>
          <ac:spMkLst>
            <pc:docMk/>
            <pc:sldMk cId="613007373" sldId="276"/>
            <ac:spMk id="11" creationId="{80CFDCD9-8C43-50CA-A1AD-02EE58F7A8F6}"/>
          </ac:spMkLst>
        </pc:spChg>
        <pc:spChg chg="add del mod modVis">
          <ac:chgData name="Schleicher, Keith" userId="884556d8-3218-47e5-8867-331bdb0fe637" providerId="ADAL" clId="{5F36FADA-656D-4DB6-B22C-4E0865A45C88}" dt="2024-09-23T16:55:07.381" v="11153"/>
          <ac:spMkLst>
            <pc:docMk/>
            <pc:sldMk cId="613007373" sldId="276"/>
            <ac:spMk id="12" creationId="{84A07BA0-1997-1A31-20D9-635603A10824}"/>
          </ac:spMkLst>
        </pc:spChg>
        <pc:spChg chg="add del mod modVis">
          <ac:chgData name="Schleicher, Keith" userId="884556d8-3218-47e5-8867-331bdb0fe637" providerId="ADAL" clId="{5F36FADA-656D-4DB6-B22C-4E0865A45C88}" dt="2024-09-23T16:55:08.527" v="11180"/>
          <ac:spMkLst>
            <pc:docMk/>
            <pc:sldMk cId="613007373" sldId="276"/>
            <ac:spMk id="13" creationId="{AB7EACF2-16E2-8743-544D-4D08CCD4CC32}"/>
          </ac:spMkLst>
        </pc:spChg>
        <pc:spChg chg="add del mod modVis">
          <ac:chgData name="Schleicher, Keith" userId="884556d8-3218-47e5-8867-331bdb0fe637" providerId="ADAL" clId="{5F36FADA-656D-4DB6-B22C-4E0865A45C88}" dt="2024-09-23T16:55:10.724" v="11206"/>
          <ac:spMkLst>
            <pc:docMk/>
            <pc:sldMk cId="613007373" sldId="276"/>
            <ac:spMk id="14" creationId="{37D31A1F-4F66-4FC4-0086-25C6E25763DF}"/>
          </ac:spMkLst>
        </pc:spChg>
        <pc:spChg chg="add del mod modVis">
          <ac:chgData name="Schleicher, Keith" userId="884556d8-3218-47e5-8867-331bdb0fe637" providerId="ADAL" clId="{5F36FADA-656D-4DB6-B22C-4E0865A45C88}" dt="2024-09-23T16:55:11.696" v="11234"/>
          <ac:spMkLst>
            <pc:docMk/>
            <pc:sldMk cId="613007373" sldId="276"/>
            <ac:spMk id="15" creationId="{E580439B-50CC-0F3F-56E7-ADE41F81610A}"/>
          </ac:spMkLst>
        </pc:spChg>
        <pc:spChg chg="add del mod modVis">
          <ac:chgData name="Schleicher, Keith" userId="884556d8-3218-47e5-8867-331bdb0fe637" providerId="ADAL" clId="{5F36FADA-656D-4DB6-B22C-4E0865A45C88}" dt="2024-09-23T16:55:12.485" v="11262"/>
          <ac:spMkLst>
            <pc:docMk/>
            <pc:sldMk cId="613007373" sldId="276"/>
            <ac:spMk id="16" creationId="{072EA8D1-B8BF-1F73-8213-EA185FD4A186}"/>
          </ac:spMkLst>
        </pc:spChg>
        <pc:spChg chg="add del mod modVis">
          <ac:chgData name="Schleicher, Keith" userId="884556d8-3218-47e5-8867-331bdb0fe637" providerId="ADAL" clId="{5F36FADA-656D-4DB6-B22C-4E0865A45C88}" dt="2024-09-23T16:55:13.815" v="11290"/>
          <ac:spMkLst>
            <pc:docMk/>
            <pc:sldMk cId="613007373" sldId="276"/>
            <ac:spMk id="17" creationId="{1DE72562-2E91-C8CB-AA10-552887C61D79}"/>
          </ac:spMkLst>
        </pc:spChg>
        <pc:spChg chg="add del mod modVis">
          <ac:chgData name="Schleicher, Keith" userId="884556d8-3218-47e5-8867-331bdb0fe637" providerId="ADAL" clId="{5F36FADA-656D-4DB6-B22C-4E0865A45C88}" dt="2024-09-23T16:59:11.430" v="11559"/>
          <ac:spMkLst>
            <pc:docMk/>
            <pc:sldMk cId="613007373" sldId="276"/>
            <ac:spMk id="18" creationId="{32C8F7F0-DF50-4DAC-B5CB-04F10BA5C6F8}"/>
          </ac:spMkLst>
        </pc:spChg>
        <pc:spChg chg="add del mod modVis">
          <ac:chgData name="Schleicher, Keith" userId="884556d8-3218-47e5-8867-331bdb0fe637" providerId="ADAL" clId="{5F36FADA-656D-4DB6-B22C-4E0865A45C88}" dt="2024-09-23T16:59:19.674" v="11605"/>
          <ac:spMkLst>
            <pc:docMk/>
            <pc:sldMk cId="613007373" sldId="276"/>
            <ac:spMk id="19" creationId="{20A080D1-3DAF-1F7A-1786-3FF659A766BF}"/>
          </ac:spMkLst>
        </pc:spChg>
        <pc:spChg chg="add del mod modVis">
          <ac:chgData name="Schleicher, Keith" userId="884556d8-3218-47e5-8867-331bdb0fe637" providerId="ADAL" clId="{5F36FADA-656D-4DB6-B22C-4E0865A45C88}" dt="2024-09-23T16:59:21.683" v="11641"/>
          <ac:spMkLst>
            <pc:docMk/>
            <pc:sldMk cId="613007373" sldId="276"/>
            <ac:spMk id="20" creationId="{E82B2721-F3B2-191C-2078-DEAB26C708E4}"/>
          </ac:spMkLst>
        </pc:spChg>
        <pc:spChg chg="add del mod modVis">
          <ac:chgData name="Schleicher, Keith" userId="884556d8-3218-47e5-8867-331bdb0fe637" providerId="ADAL" clId="{5F36FADA-656D-4DB6-B22C-4E0865A45C88}" dt="2024-09-23T16:59:22.766" v="11669"/>
          <ac:spMkLst>
            <pc:docMk/>
            <pc:sldMk cId="613007373" sldId="276"/>
            <ac:spMk id="21" creationId="{74D7306D-8267-B2CD-85A1-65479CCF986D}"/>
          </ac:spMkLst>
        </pc:spChg>
        <pc:spChg chg="add del mod modVis">
          <ac:chgData name="Schleicher, Keith" userId="884556d8-3218-47e5-8867-331bdb0fe637" providerId="ADAL" clId="{5F36FADA-656D-4DB6-B22C-4E0865A45C88}" dt="2024-09-23T16:59:23.582" v="11695"/>
          <ac:spMkLst>
            <pc:docMk/>
            <pc:sldMk cId="613007373" sldId="276"/>
            <ac:spMk id="22" creationId="{20372974-F8BD-0FEA-C322-8EFC6699AAA4}"/>
          </ac:spMkLst>
        </pc:spChg>
        <pc:spChg chg="add del mod modVis">
          <ac:chgData name="Schleicher, Keith" userId="884556d8-3218-47e5-8867-331bdb0fe637" providerId="ADAL" clId="{5F36FADA-656D-4DB6-B22C-4E0865A45C88}" dt="2024-09-23T17:00:03.163" v="11737"/>
          <ac:spMkLst>
            <pc:docMk/>
            <pc:sldMk cId="613007373" sldId="276"/>
            <ac:spMk id="23" creationId="{07F5C743-8CB8-4C19-7864-E7E6942499B5}"/>
          </ac:spMkLst>
        </pc:spChg>
        <pc:graphicFrameChg chg="add mod ord modVis replST">
          <ac:chgData name="Schleicher, Keith" userId="884556d8-3218-47e5-8867-331bdb0fe637" providerId="ADAL" clId="{5F36FADA-656D-4DB6-B22C-4E0865A45C88}" dt="2024-09-23T17:00:03.163" v="11739"/>
          <ac:graphicFrameMkLst>
            <pc:docMk/>
            <pc:sldMk cId="613007373" sldId="276"/>
            <ac:graphicFrameMk id="9" creationId="{05FDE5BB-A314-14E1-E0A8-C1BEBAB03982}"/>
          </ac:graphicFrameMkLst>
        </pc:graphicFrameChg>
      </pc:sldChg>
      <pc:sldMasterChg chg="addSp">
        <pc:chgData name="Schleicher, Keith" userId="884556d8-3218-47e5-8867-331bdb0fe637" providerId="ADAL" clId="{5F36FADA-656D-4DB6-B22C-4E0865A45C88}" dt="2024-08-08T20:35:02.337" v="0"/>
        <pc:sldMasterMkLst>
          <pc:docMk/>
          <pc:sldMasterMk cId="1145295262" sldId="2147483678"/>
        </pc:sldMasterMkLst>
        <pc:graphicFrameChg chg="add">
          <ac:chgData name="Schleicher, Keith" userId="884556d8-3218-47e5-8867-331bdb0fe637" providerId="ADAL" clId="{5F36FADA-656D-4DB6-B22C-4E0865A45C88}" dt="2024-08-08T20:35:02.337" v="0"/>
          <ac:graphicFrameMkLst>
            <pc:docMk/>
            <pc:sldMasterMk cId="1145295262" sldId="2147483678"/>
            <ac:graphicFrameMk id="48" creationId="{F7A8CBCB-5509-836B-413B-4A8E2AFA3281}"/>
          </ac:graphicFrameMkLst>
        </pc:graphicFrameChg>
      </pc:sldMasterChg>
      <pc:sldMasterChg chg="addSp">
        <pc:chgData name="Schleicher, Keith" userId="884556d8-3218-47e5-8867-331bdb0fe637" providerId="ADAL" clId="{5F36FADA-656D-4DB6-B22C-4E0865A45C88}" dt="2024-08-08T20:35:07.172" v="109"/>
        <pc:sldMasterMkLst>
          <pc:docMk/>
          <pc:sldMasterMk cId="1325530264" sldId="2147483696"/>
        </pc:sldMasterMkLst>
        <pc:graphicFrameChg chg="add">
          <ac:chgData name="Schleicher, Keith" userId="884556d8-3218-47e5-8867-331bdb0fe637" providerId="ADAL" clId="{5F36FADA-656D-4DB6-B22C-4E0865A45C88}" dt="2024-08-08T20:35:07.172" v="109"/>
          <ac:graphicFrameMkLst>
            <pc:docMk/>
            <pc:sldMasterMk cId="1325530264" sldId="2147483696"/>
            <ac:graphicFrameMk id="48" creationId="{6D2B0436-E010-B55E-244C-E6F414214662}"/>
          </ac:graphicFrameMkLst>
        </pc:graphicFrameChg>
      </pc:sldMasterChg>
      <pc:sldMasterChg chg="addSp">
        <pc:chgData name="Schleicher, Keith" userId="884556d8-3218-47e5-8867-331bdb0fe637" providerId="ADAL" clId="{5F36FADA-656D-4DB6-B22C-4E0865A45C88}" dt="2024-08-08T20:35:09.591" v="218"/>
        <pc:sldMasterMkLst>
          <pc:docMk/>
          <pc:sldMasterMk cId="2751427551" sldId="2147483714"/>
        </pc:sldMasterMkLst>
        <pc:graphicFrameChg chg="add">
          <ac:chgData name="Schleicher, Keith" userId="884556d8-3218-47e5-8867-331bdb0fe637" providerId="ADAL" clId="{5F36FADA-656D-4DB6-B22C-4E0865A45C88}" dt="2024-08-08T20:35:09.591" v="218"/>
          <ac:graphicFrameMkLst>
            <pc:docMk/>
            <pc:sldMasterMk cId="2751427551" sldId="2147483714"/>
            <ac:graphicFrameMk id="48" creationId="{271A2059-31AB-0036-EA6B-0CA6C128560C}"/>
          </ac:graphicFrameMkLst>
        </pc:graphicFrameChg>
      </pc:sldMasterChg>
      <pc:sldMasterChg chg="addSp">
        <pc:chgData name="Schleicher, Keith" userId="884556d8-3218-47e5-8867-331bdb0fe637" providerId="ADAL" clId="{5F36FADA-656D-4DB6-B22C-4E0865A45C88}" dt="2024-08-26T20:01:06.705" v="3900"/>
        <pc:sldMasterMkLst>
          <pc:docMk/>
          <pc:sldMasterMk cId="521983659" sldId="2147483732"/>
        </pc:sldMasterMkLst>
        <pc:graphicFrameChg chg="add">
          <ac:chgData name="Schleicher, Keith" userId="884556d8-3218-47e5-8867-331bdb0fe637" providerId="ADAL" clId="{5F36FADA-656D-4DB6-B22C-4E0865A45C88}" dt="2024-08-26T20:01:06.705" v="3900"/>
          <ac:graphicFrameMkLst>
            <pc:docMk/>
            <pc:sldMasterMk cId="521983659" sldId="2147483732"/>
            <ac:graphicFrameMk id="48" creationId="{A19419F7-E705-3086-F732-B10FA8BD1927}"/>
          </ac:graphicFrameMkLst>
        </pc:graphicFrame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E3FE426-FCBD-4BD5-9418-F3CE498F6895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D146977-FB49-4C51-B776-9E2B4368ADCC}">
      <dgm:prSet phldrT="[Text]" custT="1"/>
      <dgm:spPr/>
      <dgm:t>
        <a:bodyPr/>
        <a:lstStyle/>
        <a:p>
          <a:r>
            <a:rPr lang="en-US" sz="1400" b="1" dirty="0"/>
            <a:t>Artificial Intelligence (AI)</a:t>
          </a:r>
        </a:p>
      </dgm:t>
    </dgm:pt>
    <dgm:pt modelId="{E244710E-C2CA-4144-8E12-309A7C3F8A39}" type="parTrans" cxnId="{9C7A29AB-568A-4F07-8352-B06F02491C23}">
      <dgm:prSet/>
      <dgm:spPr/>
      <dgm:t>
        <a:bodyPr/>
        <a:lstStyle/>
        <a:p>
          <a:endParaRPr lang="en-US" sz="1400" b="1"/>
        </a:p>
      </dgm:t>
    </dgm:pt>
    <dgm:pt modelId="{77C594BF-F25A-431A-9C18-41A420502E05}" type="sibTrans" cxnId="{9C7A29AB-568A-4F07-8352-B06F02491C23}">
      <dgm:prSet/>
      <dgm:spPr/>
      <dgm:t>
        <a:bodyPr/>
        <a:lstStyle/>
        <a:p>
          <a:endParaRPr lang="en-US" sz="1400" b="1"/>
        </a:p>
      </dgm:t>
    </dgm:pt>
    <dgm:pt modelId="{5D2AA39C-43CB-481B-A992-E0B647FCB4DB}">
      <dgm:prSet phldrT="[Text]" custT="1"/>
      <dgm:spPr/>
      <dgm:t>
        <a:bodyPr/>
        <a:lstStyle/>
        <a:p>
          <a:r>
            <a:rPr lang="en-US" sz="1400" b="1" dirty="0"/>
            <a:t>Machine Learning</a:t>
          </a:r>
        </a:p>
      </dgm:t>
    </dgm:pt>
    <dgm:pt modelId="{D28BC6C7-9F27-46AE-B86C-2B9B8264B233}" type="parTrans" cxnId="{BD068D60-E297-4089-81EE-DADDCD13A00A}">
      <dgm:prSet/>
      <dgm:spPr/>
      <dgm:t>
        <a:bodyPr/>
        <a:lstStyle/>
        <a:p>
          <a:endParaRPr lang="en-US" sz="1400" b="1"/>
        </a:p>
      </dgm:t>
    </dgm:pt>
    <dgm:pt modelId="{BBDD5387-7539-4605-A9FC-6522414A3563}" type="sibTrans" cxnId="{BD068D60-E297-4089-81EE-DADDCD13A00A}">
      <dgm:prSet/>
      <dgm:spPr/>
      <dgm:t>
        <a:bodyPr/>
        <a:lstStyle/>
        <a:p>
          <a:endParaRPr lang="en-US" sz="1400" b="1"/>
        </a:p>
      </dgm:t>
    </dgm:pt>
    <dgm:pt modelId="{07212212-FE45-47EA-9F9A-6D5093BE2561}">
      <dgm:prSet phldrT="[Text]" custT="1"/>
      <dgm:spPr/>
      <dgm:t>
        <a:bodyPr/>
        <a:lstStyle/>
        <a:p>
          <a:r>
            <a:rPr lang="en-US" sz="1400" b="1" dirty="0"/>
            <a:t>Deep Learning</a:t>
          </a:r>
        </a:p>
      </dgm:t>
    </dgm:pt>
    <dgm:pt modelId="{25096400-DA8D-474B-8B71-A6E095414487}" type="parTrans" cxnId="{B902F387-A038-46DD-9CC8-B347E4D514FE}">
      <dgm:prSet/>
      <dgm:spPr/>
      <dgm:t>
        <a:bodyPr/>
        <a:lstStyle/>
        <a:p>
          <a:endParaRPr lang="en-US" sz="1400" b="1"/>
        </a:p>
      </dgm:t>
    </dgm:pt>
    <dgm:pt modelId="{5AF03FB5-4866-4D9F-8BCB-29F4578CE810}" type="sibTrans" cxnId="{B902F387-A038-46DD-9CC8-B347E4D514FE}">
      <dgm:prSet/>
      <dgm:spPr/>
      <dgm:t>
        <a:bodyPr/>
        <a:lstStyle/>
        <a:p>
          <a:endParaRPr lang="en-US" sz="1400" b="1"/>
        </a:p>
      </dgm:t>
    </dgm:pt>
    <dgm:pt modelId="{E5BE2543-8016-4FB2-B639-B7783708DE08}">
      <dgm:prSet phldrT="[Text]" custT="1"/>
      <dgm:spPr/>
      <dgm:t>
        <a:bodyPr/>
        <a:lstStyle/>
        <a:p>
          <a:r>
            <a:rPr lang="en-US" sz="1400" b="1" dirty="0"/>
            <a:t>LLM</a:t>
          </a:r>
        </a:p>
      </dgm:t>
    </dgm:pt>
    <dgm:pt modelId="{F730C247-BF77-43CD-9B54-60C96D5E40DE}" type="parTrans" cxnId="{39C586B8-D11F-48ED-9020-5C321D8A3E84}">
      <dgm:prSet/>
      <dgm:spPr/>
      <dgm:t>
        <a:bodyPr/>
        <a:lstStyle/>
        <a:p>
          <a:endParaRPr lang="en-US" sz="1400" b="1"/>
        </a:p>
      </dgm:t>
    </dgm:pt>
    <dgm:pt modelId="{1746B910-E600-488B-A7F1-27B1904BCD63}" type="sibTrans" cxnId="{39C586B8-D11F-48ED-9020-5C321D8A3E84}">
      <dgm:prSet/>
      <dgm:spPr/>
      <dgm:t>
        <a:bodyPr/>
        <a:lstStyle/>
        <a:p>
          <a:endParaRPr lang="en-US" sz="1400" b="1"/>
        </a:p>
      </dgm:t>
    </dgm:pt>
    <dgm:pt modelId="{133A0FE0-B103-4939-9D54-3333F85E9ED6}" type="pres">
      <dgm:prSet presAssocID="{7E3FE426-FCBD-4BD5-9418-F3CE498F6895}" presName="Name0" presStyleCnt="0">
        <dgm:presLayoutVars>
          <dgm:chMax val="7"/>
          <dgm:resizeHandles val="exact"/>
        </dgm:presLayoutVars>
      </dgm:prSet>
      <dgm:spPr/>
    </dgm:pt>
    <dgm:pt modelId="{71BCACB2-B4DD-401C-B47E-9D0DB2C53225}" type="pres">
      <dgm:prSet presAssocID="{7E3FE426-FCBD-4BD5-9418-F3CE498F6895}" presName="comp1" presStyleCnt="0"/>
      <dgm:spPr/>
    </dgm:pt>
    <dgm:pt modelId="{789477D7-21D4-415A-8ED6-62B197B80C3A}" type="pres">
      <dgm:prSet presAssocID="{7E3FE426-FCBD-4BD5-9418-F3CE498F6895}" presName="circle1" presStyleLbl="node1" presStyleIdx="0" presStyleCnt="4" custScaleX="82309" custScaleY="76516" custLinFactNeighborX="-1711" custLinFactNeighborY="11660"/>
      <dgm:spPr/>
    </dgm:pt>
    <dgm:pt modelId="{8FE595EF-81A4-4E36-B1F3-583652690362}" type="pres">
      <dgm:prSet presAssocID="{7E3FE426-FCBD-4BD5-9418-F3CE498F6895}" presName="c1text" presStyleLbl="node1" presStyleIdx="0" presStyleCnt="4">
        <dgm:presLayoutVars>
          <dgm:bulletEnabled val="1"/>
        </dgm:presLayoutVars>
      </dgm:prSet>
      <dgm:spPr/>
    </dgm:pt>
    <dgm:pt modelId="{AA997463-C045-4C12-A2CC-C25903749454}" type="pres">
      <dgm:prSet presAssocID="{7E3FE426-FCBD-4BD5-9418-F3CE498F6895}" presName="comp2" presStyleCnt="0"/>
      <dgm:spPr/>
    </dgm:pt>
    <dgm:pt modelId="{57A97F6C-7CD1-45E7-B695-3CB89FF58F1C}" type="pres">
      <dgm:prSet presAssocID="{7E3FE426-FCBD-4BD5-9418-F3CE498F6895}" presName="circle2" presStyleLbl="node1" presStyleIdx="1" presStyleCnt="4" custScaleX="68373" custScaleY="68278" custLinFactNeighborX="-1940" custLinFactNeighborY="15515"/>
      <dgm:spPr/>
    </dgm:pt>
    <dgm:pt modelId="{BDB44687-600F-4E24-BA71-5C6AE7FA01A9}" type="pres">
      <dgm:prSet presAssocID="{7E3FE426-FCBD-4BD5-9418-F3CE498F6895}" presName="c2text" presStyleLbl="node1" presStyleIdx="1" presStyleCnt="4">
        <dgm:presLayoutVars>
          <dgm:bulletEnabled val="1"/>
        </dgm:presLayoutVars>
      </dgm:prSet>
      <dgm:spPr/>
    </dgm:pt>
    <dgm:pt modelId="{C1A79258-2B27-46B2-9645-654897D92D76}" type="pres">
      <dgm:prSet presAssocID="{7E3FE426-FCBD-4BD5-9418-F3CE498F6895}" presName="comp3" presStyleCnt="0"/>
      <dgm:spPr/>
    </dgm:pt>
    <dgm:pt modelId="{C2BCFE2A-1FFE-458D-9F38-CB757778F59E}" type="pres">
      <dgm:prSet presAssocID="{7E3FE426-FCBD-4BD5-9418-F3CE498F6895}" presName="circle3" presStyleLbl="node1" presStyleIdx="2" presStyleCnt="4" custScaleX="62338" custScaleY="63949" custLinFactNeighborX="-49" custLinFactNeighborY="17884"/>
      <dgm:spPr/>
    </dgm:pt>
    <dgm:pt modelId="{7B5C4B42-5E50-40DB-BBA1-83D6DBB5E63B}" type="pres">
      <dgm:prSet presAssocID="{7E3FE426-FCBD-4BD5-9418-F3CE498F6895}" presName="c3text" presStyleLbl="node1" presStyleIdx="2" presStyleCnt="4">
        <dgm:presLayoutVars>
          <dgm:bulletEnabled val="1"/>
        </dgm:presLayoutVars>
      </dgm:prSet>
      <dgm:spPr/>
    </dgm:pt>
    <dgm:pt modelId="{6CCAFA0B-6425-4DBE-8236-64625BCCE66B}" type="pres">
      <dgm:prSet presAssocID="{7E3FE426-FCBD-4BD5-9418-F3CE498F6895}" presName="comp4" presStyleCnt="0"/>
      <dgm:spPr/>
    </dgm:pt>
    <dgm:pt modelId="{355DC904-33AF-4632-93DA-E8DC1497E633}" type="pres">
      <dgm:prSet presAssocID="{7E3FE426-FCBD-4BD5-9418-F3CE498F6895}" presName="circle4" presStyleLbl="node1" presStyleIdx="3" presStyleCnt="4" custScaleX="49460" custScaleY="53283" custLinFactNeighborX="-3210" custLinFactNeighborY="23142"/>
      <dgm:spPr/>
    </dgm:pt>
    <dgm:pt modelId="{F2BE22A3-B7EE-452D-B244-906DF63912EA}" type="pres">
      <dgm:prSet presAssocID="{7E3FE426-FCBD-4BD5-9418-F3CE498F6895}" presName="c4text" presStyleLbl="node1" presStyleIdx="3" presStyleCnt="4">
        <dgm:presLayoutVars>
          <dgm:bulletEnabled val="1"/>
        </dgm:presLayoutVars>
      </dgm:prSet>
      <dgm:spPr/>
    </dgm:pt>
  </dgm:ptLst>
  <dgm:cxnLst>
    <dgm:cxn modelId="{F279610F-0D04-4220-AD51-E88434359379}" type="presOf" srcId="{07212212-FE45-47EA-9F9A-6D5093BE2561}" destId="{7B5C4B42-5E50-40DB-BBA1-83D6DBB5E63B}" srcOrd="1" destOrd="0" presId="urn:microsoft.com/office/officeart/2005/8/layout/venn2"/>
    <dgm:cxn modelId="{37E95718-9642-41D8-ACAD-1BFAE2E436F0}" type="presOf" srcId="{5D2AA39C-43CB-481B-A992-E0B647FCB4DB}" destId="{57A97F6C-7CD1-45E7-B695-3CB89FF58F1C}" srcOrd="0" destOrd="0" presId="urn:microsoft.com/office/officeart/2005/8/layout/venn2"/>
    <dgm:cxn modelId="{B3C6F935-EE52-4F37-9EFB-1952E9DD4A45}" type="presOf" srcId="{5D2AA39C-43CB-481B-A992-E0B647FCB4DB}" destId="{BDB44687-600F-4E24-BA71-5C6AE7FA01A9}" srcOrd="1" destOrd="0" presId="urn:microsoft.com/office/officeart/2005/8/layout/venn2"/>
    <dgm:cxn modelId="{BD068D60-E297-4089-81EE-DADDCD13A00A}" srcId="{7E3FE426-FCBD-4BD5-9418-F3CE498F6895}" destId="{5D2AA39C-43CB-481B-A992-E0B647FCB4DB}" srcOrd="1" destOrd="0" parTransId="{D28BC6C7-9F27-46AE-B86C-2B9B8264B233}" sibTransId="{BBDD5387-7539-4605-A9FC-6522414A3563}"/>
    <dgm:cxn modelId="{FD14B461-D3E1-40E0-B14B-7E214FB33C8D}" type="presOf" srcId="{07212212-FE45-47EA-9F9A-6D5093BE2561}" destId="{C2BCFE2A-1FFE-458D-9F38-CB757778F59E}" srcOrd="0" destOrd="0" presId="urn:microsoft.com/office/officeart/2005/8/layout/venn2"/>
    <dgm:cxn modelId="{94A68279-2E95-4423-B396-F36600D1CA11}" type="presOf" srcId="{E5BE2543-8016-4FB2-B639-B7783708DE08}" destId="{F2BE22A3-B7EE-452D-B244-906DF63912EA}" srcOrd="1" destOrd="0" presId="urn:microsoft.com/office/officeart/2005/8/layout/venn2"/>
    <dgm:cxn modelId="{B902F387-A038-46DD-9CC8-B347E4D514FE}" srcId="{7E3FE426-FCBD-4BD5-9418-F3CE498F6895}" destId="{07212212-FE45-47EA-9F9A-6D5093BE2561}" srcOrd="2" destOrd="0" parTransId="{25096400-DA8D-474B-8B71-A6E095414487}" sibTransId="{5AF03FB5-4866-4D9F-8BCB-29F4578CE810}"/>
    <dgm:cxn modelId="{9C7A29AB-568A-4F07-8352-B06F02491C23}" srcId="{7E3FE426-FCBD-4BD5-9418-F3CE498F6895}" destId="{DD146977-FB49-4C51-B776-9E2B4368ADCC}" srcOrd="0" destOrd="0" parTransId="{E244710E-C2CA-4144-8E12-309A7C3F8A39}" sibTransId="{77C594BF-F25A-431A-9C18-41A420502E05}"/>
    <dgm:cxn modelId="{9DE9A9B2-4482-42BA-A589-E24F5DC9E1D6}" type="presOf" srcId="{E5BE2543-8016-4FB2-B639-B7783708DE08}" destId="{355DC904-33AF-4632-93DA-E8DC1497E633}" srcOrd="0" destOrd="0" presId="urn:microsoft.com/office/officeart/2005/8/layout/venn2"/>
    <dgm:cxn modelId="{6A20F2B5-EDB7-40D3-8DDF-A412E5EA3932}" type="presOf" srcId="{DD146977-FB49-4C51-B776-9E2B4368ADCC}" destId="{789477D7-21D4-415A-8ED6-62B197B80C3A}" srcOrd="0" destOrd="0" presId="urn:microsoft.com/office/officeart/2005/8/layout/venn2"/>
    <dgm:cxn modelId="{39C586B8-D11F-48ED-9020-5C321D8A3E84}" srcId="{7E3FE426-FCBD-4BD5-9418-F3CE498F6895}" destId="{E5BE2543-8016-4FB2-B639-B7783708DE08}" srcOrd="3" destOrd="0" parTransId="{F730C247-BF77-43CD-9B54-60C96D5E40DE}" sibTransId="{1746B910-E600-488B-A7F1-27B1904BCD63}"/>
    <dgm:cxn modelId="{A0C7B7B9-3C79-49F1-8BB0-017D5EEAC274}" type="presOf" srcId="{DD146977-FB49-4C51-B776-9E2B4368ADCC}" destId="{8FE595EF-81A4-4E36-B1F3-583652690362}" srcOrd="1" destOrd="0" presId="urn:microsoft.com/office/officeart/2005/8/layout/venn2"/>
    <dgm:cxn modelId="{FA911FC4-8CC5-44DC-B05E-6B55DB646327}" type="presOf" srcId="{7E3FE426-FCBD-4BD5-9418-F3CE498F6895}" destId="{133A0FE0-B103-4939-9D54-3333F85E9ED6}" srcOrd="0" destOrd="0" presId="urn:microsoft.com/office/officeart/2005/8/layout/venn2"/>
    <dgm:cxn modelId="{30CA04EB-9EAF-4FFA-85C4-291B413D0AC7}" type="presParOf" srcId="{133A0FE0-B103-4939-9D54-3333F85E9ED6}" destId="{71BCACB2-B4DD-401C-B47E-9D0DB2C53225}" srcOrd="0" destOrd="0" presId="urn:microsoft.com/office/officeart/2005/8/layout/venn2"/>
    <dgm:cxn modelId="{0828CC43-7E99-496A-8B82-3F320E1B439A}" type="presParOf" srcId="{71BCACB2-B4DD-401C-B47E-9D0DB2C53225}" destId="{789477D7-21D4-415A-8ED6-62B197B80C3A}" srcOrd="0" destOrd="0" presId="urn:microsoft.com/office/officeart/2005/8/layout/venn2"/>
    <dgm:cxn modelId="{3DFC4E35-A382-45C0-9B51-E575A93A1BDF}" type="presParOf" srcId="{71BCACB2-B4DD-401C-B47E-9D0DB2C53225}" destId="{8FE595EF-81A4-4E36-B1F3-583652690362}" srcOrd="1" destOrd="0" presId="urn:microsoft.com/office/officeart/2005/8/layout/venn2"/>
    <dgm:cxn modelId="{6F5ED958-5B28-472E-AF63-853EC95B75BB}" type="presParOf" srcId="{133A0FE0-B103-4939-9D54-3333F85E9ED6}" destId="{AA997463-C045-4C12-A2CC-C25903749454}" srcOrd="1" destOrd="0" presId="urn:microsoft.com/office/officeart/2005/8/layout/venn2"/>
    <dgm:cxn modelId="{C2ADF6FC-DB6E-4BC9-8BBC-03DAEF3C005C}" type="presParOf" srcId="{AA997463-C045-4C12-A2CC-C25903749454}" destId="{57A97F6C-7CD1-45E7-B695-3CB89FF58F1C}" srcOrd="0" destOrd="0" presId="urn:microsoft.com/office/officeart/2005/8/layout/venn2"/>
    <dgm:cxn modelId="{C70B8610-B19B-46F3-B836-387C026B29EE}" type="presParOf" srcId="{AA997463-C045-4C12-A2CC-C25903749454}" destId="{BDB44687-600F-4E24-BA71-5C6AE7FA01A9}" srcOrd="1" destOrd="0" presId="urn:microsoft.com/office/officeart/2005/8/layout/venn2"/>
    <dgm:cxn modelId="{4C9E0698-CF0A-4B65-BEB1-ABD626613F64}" type="presParOf" srcId="{133A0FE0-B103-4939-9D54-3333F85E9ED6}" destId="{C1A79258-2B27-46B2-9645-654897D92D76}" srcOrd="2" destOrd="0" presId="urn:microsoft.com/office/officeart/2005/8/layout/venn2"/>
    <dgm:cxn modelId="{4D9BBA9F-CB3E-4269-B3C7-7BB692857699}" type="presParOf" srcId="{C1A79258-2B27-46B2-9645-654897D92D76}" destId="{C2BCFE2A-1FFE-458D-9F38-CB757778F59E}" srcOrd="0" destOrd="0" presId="urn:microsoft.com/office/officeart/2005/8/layout/venn2"/>
    <dgm:cxn modelId="{BF7A0FB1-FEC9-4508-A5A4-CD3DC19EAE1D}" type="presParOf" srcId="{C1A79258-2B27-46B2-9645-654897D92D76}" destId="{7B5C4B42-5E50-40DB-BBA1-83D6DBB5E63B}" srcOrd="1" destOrd="0" presId="urn:microsoft.com/office/officeart/2005/8/layout/venn2"/>
    <dgm:cxn modelId="{592F4380-CAE5-4BB2-BDAB-51EE3E52410C}" type="presParOf" srcId="{133A0FE0-B103-4939-9D54-3333F85E9ED6}" destId="{6CCAFA0B-6425-4DBE-8236-64625BCCE66B}" srcOrd="3" destOrd="0" presId="urn:microsoft.com/office/officeart/2005/8/layout/venn2"/>
    <dgm:cxn modelId="{BD00579F-5199-4DF4-99EA-85E40D8AE38F}" type="presParOf" srcId="{6CCAFA0B-6425-4DBE-8236-64625BCCE66B}" destId="{355DC904-33AF-4632-93DA-E8DC1497E633}" srcOrd="0" destOrd="0" presId="urn:microsoft.com/office/officeart/2005/8/layout/venn2"/>
    <dgm:cxn modelId="{A6A173ED-E756-4F1E-9268-69EEE0E0AC41}" type="presParOf" srcId="{6CCAFA0B-6425-4DBE-8236-64625BCCE66B}" destId="{F2BE22A3-B7EE-452D-B244-906DF63912EA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491B53-1EA2-41A0-9B42-3BAD9A302FB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60F237D-5573-4F8D-B52C-C520EE8109E4}">
      <dgm:prSet phldrT="[Text]"/>
      <dgm:spPr/>
      <dgm:t>
        <a:bodyPr/>
        <a:lstStyle/>
        <a:p>
          <a:r>
            <a:rPr lang="en-US" b="1" dirty="0"/>
            <a:t>DATA</a:t>
          </a:r>
        </a:p>
      </dgm:t>
    </dgm:pt>
    <dgm:pt modelId="{29EA4F4B-85FD-4B98-915E-D9E43F385E57}" type="parTrans" cxnId="{3AA6782B-0586-4B91-8B55-21BA1E97F06A}">
      <dgm:prSet/>
      <dgm:spPr/>
      <dgm:t>
        <a:bodyPr/>
        <a:lstStyle/>
        <a:p>
          <a:endParaRPr lang="en-US" b="1"/>
        </a:p>
      </dgm:t>
    </dgm:pt>
    <dgm:pt modelId="{89BDED4C-9913-4728-90C8-54EF1901FC28}" type="sibTrans" cxnId="{3AA6782B-0586-4B91-8B55-21BA1E97F06A}">
      <dgm:prSet/>
      <dgm:spPr/>
      <dgm:t>
        <a:bodyPr/>
        <a:lstStyle/>
        <a:p>
          <a:endParaRPr lang="en-US" b="1"/>
        </a:p>
      </dgm:t>
    </dgm:pt>
    <dgm:pt modelId="{083784E2-BA7A-4D67-AA86-804260DC9030}">
      <dgm:prSet phldrT="[Text]"/>
      <dgm:spPr/>
      <dgm:t>
        <a:bodyPr/>
        <a:lstStyle/>
        <a:p>
          <a:r>
            <a:rPr lang="en-US" b="1" dirty="0"/>
            <a:t>INSIGHTS</a:t>
          </a:r>
        </a:p>
      </dgm:t>
    </dgm:pt>
    <dgm:pt modelId="{65D4F736-54CA-4644-901C-A3E7E7B472AE}" type="parTrans" cxnId="{55A85EDC-6EF0-46E1-B9D8-7BFA0E5E4362}">
      <dgm:prSet/>
      <dgm:spPr/>
      <dgm:t>
        <a:bodyPr/>
        <a:lstStyle/>
        <a:p>
          <a:endParaRPr lang="en-US" b="1"/>
        </a:p>
      </dgm:t>
    </dgm:pt>
    <dgm:pt modelId="{CA3773C7-D50D-44E1-BDD5-715A80D94476}" type="sibTrans" cxnId="{55A85EDC-6EF0-46E1-B9D8-7BFA0E5E4362}">
      <dgm:prSet/>
      <dgm:spPr/>
      <dgm:t>
        <a:bodyPr/>
        <a:lstStyle/>
        <a:p>
          <a:endParaRPr lang="en-US" b="1"/>
        </a:p>
      </dgm:t>
    </dgm:pt>
    <dgm:pt modelId="{996E3CA2-7ADD-4E4B-9688-8B087BC44476}">
      <dgm:prSet phldrT="[Text]"/>
      <dgm:spPr/>
      <dgm:t>
        <a:bodyPr/>
        <a:lstStyle/>
        <a:p>
          <a:r>
            <a:rPr lang="en-US" b="1" dirty="0"/>
            <a:t>ACTIONS</a:t>
          </a:r>
        </a:p>
      </dgm:t>
    </dgm:pt>
    <dgm:pt modelId="{35630461-C259-429C-915E-58E4C574953E}" type="parTrans" cxnId="{D1E9C7BF-A39A-4836-929F-0BD39B301BEA}">
      <dgm:prSet/>
      <dgm:spPr/>
      <dgm:t>
        <a:bodyPr/>
        <a:lstStyle/>
        <a:p>
          <a:endParaRPr lang="en-US" b="1"/>
        </a:p>
      </dgm:t>
    </dgm:pt>
    <dgm:pt modelId="{45FCFB68-E664-4183-96F4-995C49AD0E67}" type="sibTrans" cxnId="{D1E9C7BF-A39A-4836-929F-0BD39B301BEA}">
      <dgm:prSet/>
      <dgm:spPr/>
      <dgm:t>
        <a:bodyPr/>
        <a:lstStyle/>
        <a:p>
          <a:endParaRPr lang="en-US" b="1"/>
        </a:p>
      </dgm:t>
    </dgm:pt>
    <dgm:pt modelId="{8676FF69-1E98-4F90-B78B-FCC9A9F4C7C5}">
      <dgm:prSet/>
      <dgm:spPr/>
      <dgm:t>
        <a:bodyPr/>
        <a:lstStyle/>
        <a:p>
          <a:r>
            <a:rPr lang="en-US" b="1" dirty="0"/>
            <a:t>OUTCOMES</a:t>
          </a:r>
        </a:p>
      </dgm:t>
    </dgm:pt>
    <dgm:pt modelId="{639DE980-5ACB-4A63-A941-456FC08DD82D}" type="parTrans" cxnId="{9A405539-D904-4180-9739-17F88EBD73B2}">
      <dgm:prSet/>
      <dgm:spPr/>
      <dgm:t>
        <a:bodyPr/>
        <a:lstStyle/>
        <a:p>
          <a:endParaRPr lang="en-US" b="1"/>
        </a:p>
      </dgm:t>
    </dgm:pt>
    <dgm:pt modelId="{EEE034AE-002A-4D7A-9741-94A1F8DAD802}" type="sibTrans" cxnId="{9A405539-D904-4180-9739-17F88EBD73B2}">
      <dgm:prSet/>
      <dgm:spPr/>
      <dgm:t>
        <a:bodyPr/>
        <a:lstStyle/>
        <a:p>
          <a:endParaRPr lang="en-US" b="1"/>
        </a:p>
      </dgm:t>
    </dgm:pt>
    <dgm:pt modelId="{EF6D34B0-34A6-4022-A9EF-592D2604F9BE}" type="pres">
      <dgm:prSet presAssocID="{28491B53-1EA2-41A0-9B42-3BAD9A302FBD}" presName="Name0" presStyleCnt="0">
        <dgm:presLayoutVars>
          <dgm:dir/>
          <dgm:animLvl val="lvl"/>
          <dgm:resizeHandles val="exact"/>
        </dgm:presLayoutVars>
      </dgm:prSet>
      <dgm:spPr/>
    </dgm:pt>
    <dgm:pt modelId="{AA27A979-93DB-4D72-891A-0E9646FB2C0E}" type="pres">
      <dgm:prSet presAssocID="{260F237D-5573-4F8D-B52C-C520EE8109E4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996EC6B-2077-46BB-96F9-76B60BEAB0FB}" type="pres">
      <dgm:prSet presAssocID="{89BDED4C-9913-4728-90C8-54EF1901FC28}" presName="parTxOnlySpace" presStyleCnt="0"/>
      <dgm:spPr/>
    </dgm:pt>
    <dgm:pt modelId="{025A60AB-E767-4349-A264-EDE82777FBDC}" type="pres">
      <dgm:prSet presAssocID="{083784E2-BA7A-4D67-AA86-804260DC9030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D82DB217-7F39-42A3-BB53-1D2A84164E4D}" type="pres">
      <dgm:prSet presAssocID="{CA3773C7-D50D-44E1-BDD5-715A80D94476}" presName="parTxOnlySpace" presStyleCnt="0"/>
      <dgm:spPr/>
    </dgm:pt>
    <dgm:pt modelId="{C87ECBA5-12EF-45FE-A689-EFE899D89489}" type="pres">
      <dgm:prSet presAssocID="{996E3CA2-7ADD-4E4B-9688-8B087BC44476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A005486-895B-4851-B7DE-E0AA09D57EF0}" type="pres">
      <dgm:prSet presAssocID="{45FCFB68-E664-4183-96F4-995C49AD0E67}" presName="parTxOnlySpace" presStyleCnt="0"/>
      <dgm:spPr/>
    </dgm:pt>
    <dgm:pt modelId="{15AAD2E3-A45A-4BF9-BAB8-186BAA60D1B8}" type="pres">
      <dgm:prSet presAssocID="{8676FF69-1E98-4F90-B78B-FCC9A9F4C7C5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D33050B-2EEF-4378-BC31-B8F8C67E3316}" type="presOf" srcId="{8676FF69-1E98-4F90-B78B-FCC9A9F4C7C5}" destId="{15AAD2E3-A45A-4BF9-BAB8-186BAA60D1B8}" srcOrd="0" destOrd="0" presId="urn:microsoft.com/office/officeart/2005/8/layout/chevron1"/>
    <dgm:cxn modelId="{1485331D-7689-42D8-AD8A-A86E156EECD6}" type="presOf" srcId="{260F237D-5573-4F8D-B52C-C520EE8109E4}" destId="{AA27A979-93DB-4D72-891A-0E9646FB2C0E}" srcOrd="0" destOrd="0" presId="urn:microsoft.com/office/officeart/2005/8/layout/chevron1"/>
    <dgm:cxn modelId="{3AA6782B-0586-4B91-8B55-21BA1E97F06A}" srcId="{28491B53-1EA2-41A0-9B42-3BAD9A302FBD}" destId="{260F237D-5573-4F8D-B52C-C520EE8109E4}" srcOrd="0" destOrd="0" parTransId="{29EA4F4B-85FD-4B98-915E-D9E43F385E57}" sibTransId="{89BDED4C-9913-4728-90C8-54EF1901FC28}"/>
    <dgm:cxn modelId="{9A405539-D904-4180-9739-17F88EBD73B2}" srcId="{28491B53-1EA2-41A0-9B42-3BAD9A302FBD}" destId="{8676FF69-1E98-4F90-B78B-FCC9A9F4C7C5}" srcOrd="3" destOrd="0" parTransId="{639DE980-5ACB-4A63-A941-456FC08DD82D}" sibTransId="{EEE034AE-002A-4D7A-9741-94A1F8DAD802}"/>
    <dgm:cxn modelId="{8B49A360-A2A2-4B66-8A92-EAC36644A138}" type="presOf" srcId="{996E3CA2-7ADD-4E4B-9688-8B087BC44476}" destId="{C87ECBA5-12EF-45FE-A689-EFE899D89489}" srcOrd="0" destOrd="0" presId="urn:microsoft.com/office/officeart/2005/8/layout/chevron1"/>
    <dgm:cxn modelId="{4DA477AF-5C50-4548-8DE2-E327E3B0E87E}" type="presOf" srcId="{083784E2-BA7A-4D67-AA86-804260DC9030}" destId="{025A60AB-E767-4349-A264-EDE82777FBDC}" srcOrd="0" destOrd="0" presId="urn:microsoft.com/office/officeart/2005/8/layout/chevron1"/>
    <dgm:cxn modelId="{D1E9C7BF-A39A-4836-929F-0BD39B301BEA}" srcId="{28491B53-1EA2-41A0-9B42-3BAD9A302FBD}" destId="{996E3CA2-7ADD-4E4B-9688-8B087BC44476}" srcOrd="2" destOrd="0" parTransId="{35630461-C259-429C-915E-58E4C574953E}" sibTransId="{45FCFB68-E664-4183-96F4-995C49AD0E67}"/>
    <dgm:cxn modelId="{55A85EDC-6EF0-46E1-B9D8-7BFA0E5E4362}" srcId="{28491B53-1EA2-41A0-9B42-3BAD9A302FBD}" destId="{083784E2-BA7A-4D67-AA86-804260DC9030}" srcOrd="1" destOrd="0" parTransId="{65D4F736-54CA-4644-901C-A3E7E7B472AE}" sibTransId="{CA3773C7-D50D-44E1-BDD5-715A80D94476}"/>
    <dgm:cxn modelId="{F6B963F0-25B7-4913-855C-F184C1D53EE3}" type="presOf" srcId="{28491B53-1EA2-41A0-9B42-3BAD9A302FBD}" destId="{EF6D34B0-34A6-4022-A9EF-592D2604F9BE}" srcOrd="0" destOrd="0" presId="urn:microsoft.com/office/officeart/2005/8/layout/chevron1"/>
    <dgm:cxn modelId="{56B77EEC-E5D9-40FE-A070-251BEDED7796}" type="presParOf" srcId="{EF6D34B0-34A6-4022-A9EF-592D2604F9BE}" destId="{AA27A979-93DB-4D72-891A-0E9646FB2C0E}" srcOrd="0" destOrd="0" presId="urn:microsoft.com/office/officeart/2005/8/layout/chevron1"/>
    <dgm:cxn modelId="{A6360490-3A21-4580-A631-F7D03178EAA1}" type="presParOf" srcId="{EF6D34B0-34A6-4022-A9EF-592D2604F9BE}" destId="{9996EC6B-2077-46BB-96F9-76B60BEAB0FB}" srcOrd="1" destOrd="0" presId="urn:microsoft.com/office/officeart/2005/8/layout/chevron1"/>
    <dgm:cxn modelId="{CB130EB6-4A5D-41DD-BA1B-6236834A9E4D}" type="presParOf" srcId="{EF6D34B0-34A6-4022-A9EF-592D2604F9BE}" destId="{025A60AB-E767-4349-A264-EDE82777FBDC}" srcOrd="2" destOrd="0" presId="urn:microsoft.com/office/officeart/2005/8/layout/chevron1"/>
    <dgm:cxn modelId="{F29FFFD6-49CE-4E10-9A14-159E567E23A3}" type="presParOf" srcId="{EF6D34B0-34A6-4022-A9EF-592D2604F9BE}" destId="{D82DB217-7F39-42A3-BB53-1D2A84164E4D}" srcOrd="3" destOrd="0" presId="urn:microsoft.com/office/officeart/2005/8/layout/chevron1"/>
    <dgm:cxn modelId="{954F9319-3EB5-4462-8B41-719C3882BDB8}" type="presParOf" srcId="{EF6D34B0-34A6-4022-A9EF-592D2604F9BE}" destId="{C87ECBA5-12EF-45FE-A689-EFE899D89489}" srcOrd="4" destOrd="0" presId="urn:microsoft.com/office/officeart/2005/8/layout/chevron1"/>
    <dgm:cxn modelId="{23769FA7-AF66-446B-911B-F730F41531FD}" type="presParOf" srcId="{EF6D34B0-34A6-4022-A9EF-592D2604F9BE}" destId="{BA005486-895B-4851-B7DE-E0AA09D57EF0}" srcOrd="5" destOrd="0" presId="urn:microsoft.com/office/officeart/2005/8/layout/chevron1"/>
    <dgm:cxn modelId="{E2C31E00-57F0-4CF5-90FB-ED3FF113ED73}" type="presParOf" srcId="{EF6D34B0-34A6-4022-A9EF-592D2604F9BE}" destId="{15AAD2E3-A45A-4BF9-BAB8-186BAA60D1B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8491B53-1EA2-41A0-9B42-3BAD9A302FB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60F237D-5573-4F8D-B52C-C520EE8109E4}">
      <dgm:prSet phldrT="[Text]"/>
      <dgm:spPr/>
      <dgm:t>
        <a:bodyPr/>
        <a:lstStyle/>
        <a:p>
          <a:r>
            <a:rPr lang="en-US" b="1" dirty="0"/>
            <a:t>DATA</a:t>
          </a:r>
        </a:p>
      </dgm:t>
    </dgm:pt>
    <dgm:pt modelId="{29EA4F4B-85FD-4B98-915E-D9E43F385E57}" type="parTrans" cxnId="{3AA6782B-0586-4B91-8B55-21BA1E97F06A}">
      <dgm:prSet/>
      <dgm:spPr/>
      <dgm:t>
        <a:bodyPr/>
        <a:lstStyle/>
        <a:p>
          <a:endParaRPr lang="en-US" b="1"/>
        </a:p>
      </dgm:t>
    </dgm:pt>
    <dgm:pt modelId="{89BDED4C-9913-4728-90C8-54EF1901FC28}" type="sibTrans" cxnId="{3AA6782B-0586-4B91-8B55-21BA1E97F06A}">
      <dgm:prSet/>
      <dgm:spPr/>
      <dgm:t>
        <a:bodyPr/>
        <a:lstStyle/>
        <a:p>
          <a:endParaRPr lang="en-US" b="1"/>
        </a:p>
      </dgm:t>
    </dgm:pt>
    <dgm:pt modelId="{083784E2-BA7A-4D67-AA86-804260DC9030}">
      <dgm:prSet phldrT="[Text]"/>
      <dgm:spPr/>
      <dgm:t>
        <a:bodyPr/>
        <a:lstStyle/>
        <a:p>
          <a:r>
            <a:rPr lang="en-US" b="1" dirty="0"/>
            <a:t>INSIGHTS</a:t>
          </a:r>
        </a:p>
      </dgm:t>
    </dgm:pt>
    <dgm:pt modelId="{65D4F736-54CA-4644-901C-A3E7E7B472AE}" type="parTrans" cxnId="{55A85EDC-6EF0-46E1-B9D8-7BFA0E5E4362}">
      <dgm:prSet/>
      <dgm:spPr/>
      <dgm:t>
        <a:bodyPr/>
        <a:lstStyle/>
        <a:p>
          <a:endParaRPr lang="en-US" b="1"/>
        </a:p>
      </dgm:t>
    </dgm:pt>
    <dgm:pt modelId="{CA3773C7-D50D-44E1-BDD5-715A80D94476}" type="sibTrans" cxnId="{55A85EDC-6EF0-46E1-B9D8-7BFA0E5E4362}">
      <dgm:prSet/>
      <dgm:spPr/>
      <dgm:t>
        <a:bodyPr/>
        <a:lstStyle/>
        <a:p>
          <a:endParaRPr lang="en-US" b="1"/>
        </a:p>
      </dgm:t>
    </dgm:pt>
    <dgm:pt modelId="{996E3CA2-7ADD-4E4B-9688-8B087BC44476}">
      <dgm:prSet phldrT="[Text]"/>
      <dgm:spPr/>
      <dgm:t>
        <a:bodyPr/>
        <a:lstStyle/>
        <a:p>
          <a:r>
            <a:rPr lang="en-US" b="1" dirty="0"/>
            <a:t>ACTIONS</a:t>
          </a:r>
        </a:p>
      </dgm:t>
    </dgm:pt>
    <dgm:pt modelId="{35630461-C259-429C-915E-58E4C574953E}" type="parTrans" cxnId="{D1E9C7BF-A39A-4836-929F-0BD39B301BEA}">
      <dgm:prSet/>
      <dgm:spPr/>
      <dgm:t>
        <a:bodyPr/>
        <a:lstStyle/>
        <a:p>
          <a:endParaRPr lang="en-US" b="1"/>
        </a:p>
      </dgm:t>
    </dgm:pt>
    <dgm:pt modelId="{45FCFB68-E664-4183-96F4-995C49AD0E67}" type="sibTrans" cxnId="{D1E9C7BF-A39A-4836-929F-0BD39B301BEA}">
      <dgm:prSet/>
      <dgm:spPr/>
      <dgm:t>
        <a:bodyPr/>
        <a:lstStyle/>
        <a:p>
          <a:endParaRPr lang="en-US" b="1"/>
        </a:p>
      </dgm:t>
    </dgm:pt>
    <dgm:pt modelId="{8676FF69-1E98-4F90-B78B-FCC9A9F4C7C5}">
      <dgm:prSet/>
      <dgm:spPr/>
      <dgm:t>
        <a:bodyPr/>
        <a:lstStyle/>
        <a:p>
          <a:r>
            <a:rPr lang="en-US" b="1" dirty="0"/>
            <a:t>OUTCOMES</a:t>
          </a:r>
        </a:p>
      </dgm:t>
    </dgm:pt>
    <dgm:pt modelId="{639DE980-5ACB-4A63-A941-456FC08DD82D}" type="parTrans" cxnId="{9A405539-D904-4180-9739-17F88EBD73B2}">
      <dgm:prSet/>
      <dgm:spPr/>
      <dgm:t>
        <a:bodyPr/>
        <a:lstStyle/>
        <a:p>
          <a:endParaRPr lang="en-US" b="1"/>
        </a:p>
      </dgm:t>
    </dgm:pt>
    <dgm:pt modelId="{EEE034AE-002A-4D7A-9741-94A1F8DAD802}" type="sibTrans" cxnId="{9A405539-D904-4180-9739-17F88EBD73B2}">
      <dgm:prSet/>
      <dgm:spPr/>
      <dgm:t>
        <a:bodyPr/>
        <a:lstStyle/>
        <a:p>
          <a:endParaRPr lang="en-US" b="1"/>
        </a:p>
      </dgm:t>
    </dgm:pt>
    <dgm:pt modelId="{EF6D34B0-34A6-4022-A9EF-592D2604F9BE}" type="pres">
      <dgm:prSet presAssocID="{28491B53-1EA2-41A0-9B42-3BAD9A302FBD}" presName="Name0" presStyleCnt="0">
        <dgm:presLayoutVars>
          <dgm:dir/>
          <dgm:animLvl val="lvl"/>
          <dgm:resizeHandles val="exact"/>
        </dgm:presLayoutVars>
      </dgm:prSet>
      <dgm:spPr/>
    </dgm:pt>
    <dgm:pt modelId="{AA27A979-93DB-4D72-891A-0E9646FB2C0E}" type="pres">
      <dgm:prSet presAssocID="{260F237D-5573-4F8D-B52C-C520EE8109E4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996EC6B-2077-46BB-96F9-76B60BEAB0FB}" type="pres">
      <dgm:prSet presAssocID="{89BDED4C-9913-4728-90C8-54EF1901FC28}" presName="parTxOnlySpace" presStyleCnt="0"/>
      <dgm:spPr/>
    </dgm:pt>
    <dgm:pt modelId="{025A60AB-E767-4349-A264-EDE82777FBDC}" type="pres">
      <dgm:prSet presAssocID="{083784E2-BA7A-4D67-AA86-804260DC9030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D82DB217-7F39-42A3-BB53-1D2A84164E4D}" type="pres">
      <dgm:prSet presAssocID="{CA3773C7-D50D-44E1-BDD5-715A80D94476}" presName="parTxOnlySpace" presStyleCnt="0"/>
      <dgm:spPr/>
    </dgm:pt>
    <dgm:pt modelId="{C87ECBA5-12EF-45FE-A689-EFE899D89489}" type="pres">
      <dgm:prSet presAssocID="{996E3CA2-7ADD-4E4B-9688-8B087BC44476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A005486-895B-4851-B7DE-E0AA09D57EF0}" type="pres">
      <dgm:prSet presAssocID="{45FCFB68-E664-4183-96F4-995C49AD0E67}" presName="parTxOnlySpace" presStyleCnt="0"/>
      <dgm:spPr/>
    </dgm:pt>
    <dgm:pt modelId="{15AAD2E3-A45A-4BF9-BAB8-186BAA60D1B8}" type="pres">
      <dgm:prSet presAssocID="{8676FF69-1E98-4F90-B78B-FCC9A9F4C7C5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D33050B-2EEF-4378-BC31-B8F8C67E3316}" type="presOf" srcId="{8676FF69-1E98-4F90-B78B-FCC9A9F4C7C5}" destId="{15AAD2E3-A45A-4BF9-BAB8-186BAA60D1B8}" srcOrd="0" destOrd="0" presId="urn:microsoft.com/office/officeart/2005/8/layout/chevron1"/>
    <dgm:cxn modelId="{1485331D-7689-42D8-AD8A-A86E156EECD6}" type="presOf" srcId="{260F237D-5573-4F8D-B52C-C520EE8109E4}" destId="{AA27A979-93DB-4D72-891A-0E9646FB2C0E}" srcOrd="0" destOrd="0" presId="urn:microsoft.com/office/officeart/2005/8/layout/chevron1"/>
    <dgm:cxn modelId="{3AA6782B-0586-4B91-8B55-21BA1E97F06A}" srcId="{28491B53-1EA2-41A0-9B42-3BAD9A302FBD}" destId="{260F237D-5573-4F8D-B52C-C520EE8109E4}" srcOrd="0" destOrd="0" parTransId="{29EA4F4B-85FD-4B98-915E-D9E43F385E57}" sibTransId="{89BDED4C-9913-4728-90C8-54EF1901FC28}"/>
    <dgm:cxn modelId="{9A405539-D904-4180-9739-17F88EBD73B2}" srcId="{28491B53-1EA2-41A0-9B42-3BAD9A302FBD}" destId="{8676FF69-1E98-4F90-B78B-FCC9A9F4C7C5}" srcOrd="3" destOrd="0" parTransId="{639DE980-5ACB-4A63-A941-456FC08DD82D}" sibTransId="{EEE034AE-002A-4D7A-9741-94A1F8DAD802}"/>
    <dgm:cxn modelId="{8B49A360-A2A2-4B66-8A92-EAC36644A138}" type="presOf" srcId="{996E3CA2-7ADD-4E4B-9688-8B087BC44476}" destId="{C87ECBA5-12EF-45FE-A689-EFE899D89489}" srcOrd="0" destOrd="0" presId="urn:microsoft.com/office/officeart/2005/8/layout/chevron1"/>
    <dgm:cxn modelId="{4DA477AF-5C50-4548-8DE2-E327E3B0E87E}" type="presOf" srcId="{083784E2-BA7A-4D67-AA86-804260DC9030}" destId="{025A60AB-E767-4349-A264-EDE82777FBDC}" srcOrd="0" destOrd="0" presId="urn:microsoft.com/office/officeart/2005/8/layout/chevron1"/>
    <dgm:cxn modelId="{D1E9C7BF-A39A-4836-929F-0BD39B301BEA}" srcId="{28491B53-1EA2-41A0-9B42-3BAD9A302FBD}" destId="{996E3CA2-7ADD-4E4B-9688-8B087BC44476}" srcOrd="2" destOrd="0" parTransId="{35630461-C259-429C-915E-58E4C574953E}" sibTransId="{45FCFB68-E664-4183-96F4-995C49AD0E67}"/>
    <dgm:cxn modelId="{55A85EDC-6EF0-46E1-B9D8-7BFA0E5E4362}" srcId="{28491B53-1EA2-41A0-9B42-3BAD9A302FBD}" destId="{083784E2-BA7A-4D67-AA86-804260DC9030}" srcOrd="1" destOrd="0" parTransId="{65D4F736-54CA-4644-901C-A3E7E7B472AE}" sibTransId="{CA3773C7-D50D-44E1-BDD5-715A80D94476}"/>
    <dgm:cxn modelId="{F6B963F0-25B7-4913-855C-F184C1D53EE3}" type="presOf" srcId="{28491B53-1EA2-41A0-9B42-3BAD9A302FBD}" destId="{EF6D34B0-34A6-4022-A9EF-592D2604F9BE}" srcOrd="0" destOrd="0" presId="urn:microsoft.com/office/officeart/2005/8/layout/chevron1"/>
    <dgm:cxn modelId="{56B77EEC-E5D9-40FE-A070-251BEDED7796}" type="presParOf" srcId="{EF6D34B0-34A6-4022-A9EF-592D2604F9BE}" destId="{AA27A979-93DB-4D72-891A-0E9646FB2C0E}" srcOrd="0" destOrd="0" presId="urn:microsoft.com/office/officeart/2005/8/layout/chevron1"/>
    <dgm:cxn modelId="{A6360490-3A21-4580-A631-F7D03178EAA1}" type="presParOf" srcId="{EF6D34B0-34A6-4022-A9EF-592D2604F9BE}" destId="{9996EC6B-2077-46BB-96F9-76B60BEAB0FB}" srcOrd="1" destOrd="0" presId="urn:microsoft.com/office/officeart/2005/8/layout/chevron1"/>
    <dgm:cxn modelId="{CB130EB6-4A5D-41DD-BA1B-6236834A9E4D}" type="presParOf" srcId="{EF6D34B0-34A6-4022-A9EF-592D2604F9BE}" destId="{025A60AB-E767-4349-A264-EDE82777FBDC}" srcOrd="2" destOrd="0" presId="urn:microsoft.com/office/officeart/2005/8/layout/chevron1"/>
    <dgm:cxn modelId="{F29FFFD6-49CE-4E10-9A14-159E567E23A3}" type="presParOf" srcId="{EF6D34B0-34A6-4022-A9EF-592D2604F9BE}" destId="{D82DB217-7F39-42A3-BB53-1D2A84164E4D}" srcOrd="3" destOrd="0" presId="urn:microsoft.com/office/officeart/2005/8/layout/chevron1"/>
    <dgm:cxn modelId="{954F9319-3EB5-4462-8B41-719C3882BDB8}" type="presParOf" srcId="{EF6D34B0-34A6-4022-A9EF-592D2604F9BE}" destId="{C87ECBA5-12EF-45FE-A689-EFE899D89489}" srcOrd="4" destOrd="0" presId="urn:microsoft.com/office/officeart/2005/8/layout/chevron1"/>
    <dgm:cxn modelId="{23769FA7-AF66-446B-911B-F730F41531FD}" type="presParOf" srcId="{EF6D34B0-34A6-4022-A9EF-592D2604F9BE}" destId="{BA005486-895B-4851-B7DE-E0AA09D57EF0}" srcOrd="5" destOrd="0" presId="urn:microsoft.com/office/officeart/2005/8/layout/chevron1"/>
    <dgm:cxn modelId="{E2C31E00-57F0-4CF5-90FB-ED3FF113ED73}" type="presParOf" srcId="{EF6D34B0-34A6-4022-A9EF-592D2604F9BE}" destId="{15AAD2E3-A45A-4BF9-BAB8-186BAA60D1B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DB188E7-5B07-49E8-BA1D-07DCF475A88A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B90024E-CF9A-428D-8B7A-9C31BAFD1E55}">
      <dgm:prSet phldrT="[Text]" custT="1"/>
      <dgm:spPr/>
      <dgm:t>
        <a:bodyPr/>
        <a:lstStyle/>
        <a:p>
          <a:r>
            <a:rPr lang="en-US" sz="1400" dirty="0"/>
            <a:t>Governance</a:t>
          </a:r>
        </a:p>
      </dgm:t>
    </dgm:pt>
    <dgm:pt modelId="{F094300F-226C-45BF-8E6F-1773C09AAA46}" type="parTrans" cxnId="{AEAB24DB-257C-4762-9515-2B7C0155F903}">
      <dgm:prSet/>
      <dgm:spPr/>
      <dgm:t>
        <a:bodyPr/>
        <a:lstStyle/>
        <a:p>
          <a:endParaRPr lang="en-US" sz="1400"/>
        </a:p>
      </dgm:t>
    </dgm:pt>
    <dgm:pt modelId="{A5270840-40C8-4B71-AF4F-0AC47A6EE159}" type="sibTrans" cxnId="{AEAB24DB-257C-4762-9515-2B7C0155F903}">
      <dgm:prSet custT="1"/>
      <dgm:spPr/>
      <dgm:t>
        <a:bodyPr/>
        <a:lstStyle/>
        <a:p>
          <a:r>
            <a:rPr lang="en-US" sz="1400" dirty="0"/>
            <a:t>Quality</a:t>
          </a:r>
        </a:p>
      </dgm:t>
    </dgm:pt>
    <dgm:pt modelId="{000B5D19-4447-48F6-B12E-7CA9CDECC1FA}">
      <dgm:prSet phldrT="[Text]" custT="1"/>
      <dgm:spPr/>
      <dgm:t>
        <a:bodyPr/>
        <a:lstStyle/>
        <a:p>
          <a:r>
            <a:rPr lang="en-US" sz="1400" dirty="0"/>
            <a:t>Lineage</a:t>
          </a:r>
        </a:p>
      </dgm:t>
    </dgm:pt>
    <dgm:pt modelId="{9EA8924C-1D90-4BED-82CA-26F9A2C42956}" type="parTrans" cxnId="{88C9A099-03F8-4C22-AA34-939BED3ECCEA}">
      <dgm:prSet/>
      <dgm:spPr/>
      <dgm:t>
        <a:bodyPr/>
        <a:lstStyle/>
        <a:p>
          <a:endParaRPr lang="en-US" sz="1400"/>
        </a:p>
      </dgm:t>
    </dgm:pt>
    <dgm:pt modelId="{9399684B-9D3E-4732-A40B-776B32C63962}" type="sibTrans" cxnId="{88C9A099-03F8-4C22-AA34-939BED3ECCEA}">
      <dgm:prSet custT="1"/>
      <dgm:spPr/>
      <dgm:t>
        <a:bodyPr/>
        <a:lstStyle/>
        <a:p>
          <a:r>
            <a:rPr lang="en-US" sz="1400" dirty="0"/>
            <a:t>Security</a:t>
          </a:r>
        </a:p>
      </dgm:t>
    </dgm:pt>
    <dgm:pt modelId="{6D0F0059-B919-4CCB-84C5-C5E932978406}">
      <dgm:prSet phldrT="[Text]" custT="1"/>
      <dgm:spPr/>
      <dgm:t>
        <a:bodyPr/>
        <a:lstStyle/>
        <a:p>
          <a:r>
            <a:rPr lang="en-US" sz="1400" dirty="0"/>
            <a:t>Scalability</a:t>
          </a:r>
        </a:p>
      </dgm:t>
    </dgm:pt>
    <dgm:pt modelId="{54A9DD86-4BBF-4B98-8342-BD8911B4E58A}" type="parTrans" cxnId="{7A2926CE-B933-403F-83A5-E8BD44739956}">
      <dgm:prSet/>
      <dgm:spPr/>
      <dgm:t>
        <a:bodyPr/>
        <a:lstStyle/>
        <a:p>
          <a:endParaRPr lang="en-US" sz="1400"/>
        </a:p>
      </dgm:t>
    </dgm:pt>
    <dgm:pt modelId="{5FC271BD-857E-4E4D-8FD2-0B37069BC1DA}" type="sibTrans" cxnId="{7A2926CE-B933-403F-83A5-E8BD44739956}">
      <dgm:prSet custT="1"/>
      <dgm:spPr/>
      <dgm:t>
        <a:bodyPr/>
        <a:lstStyle/>
        <a:p>
          <a:r>
            <a:rPr lang="en-US" sz="1400" dirty="0"/>
            <a:t>Integration</a:t>
          </a:r>
        </a:p>
      </dgm:t>
    </dgm:pt>
    <dgm:pt modelId="{D0C7C0E4-D359-404A-BD1B-D72E2651B92F}" type="pres">
      <dgm:prSet presAssocID="{CDB188E7-5B07-49E8-BA1D-07DCF475A88A}" presName="Name0" presStyleCnt="0">
        <dgm:presLayoutVars>
          <dgm:chMax/>
          <dgm:chPref/>
          <dgm:dir/>
          <dgm:animLvl val="lvl"/>
        </dgm:presLayoutVars>
      </dgm:prSet>
      <dgm:spPr/>
    </dgm:pt>
    <dgm:pt modelId="{8CEE4206-30DD-469D-AF2A-3D088BBD79B0}" type="pres">
      <dgm:prSet presAssocID="{8B90024E-CF9A-428D-8B7A-9C31BAFD1E55}" presName="composite" presStyleCnt="0"/>
      <dgm:spPr/>
    </dgm:pt>
    <dgm:pt modelId="{81932897-83A4-43DB-AA10-ADBD8D824369}" type="pres">
      <dgm:prSet presAssocID="{8B90024E-CF9A-428D-8B7A-9C31BAFD1E55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4CE7B0C2-579F-405C-9474-59073B4B8A1C}" type="pres">
      <dgm:prSet presAssocID="{8B90024E-CF9A-428D-8B7A-9C31BAFD1E55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C7A65F4C-EAB9-44F3-B63C-CF87FF15E084}" type="pres">
      <dgm:prSet presAssocID="{8B90024E-CF9A-428D-8B7A-9C31BAFD1E55}" presName="BalanceSpacing" presStyleCnt="0"/>
      <dgm:spPr/>
    </dgm:pt>
    <dgm:pt modelId="{D1A0E37D-E1BC-4069-937E-3AEFC57F0629}" type="pres">
      <dgm:prSet presAssocID="{8B90024E-CF9A-428D-8B7A-9C31BAFD1E55}" presName="BalanceSpacing1" presStyleCnt="0"/>
      <dgm:spPr/>
    </dgm:pt>
    <dgm:pt modelId="{3E8CA849-2C66-4864-B34D-3609CE8F2197}" type="pres">
      <dgm:prSet presAssocID="{A5270840-40C8-4B71-AF4F-0AC47A6EE159}" presName="Accent1Text" presStyleLbl="node1" presStyleIdx="1" presStyleCnt="6"/>
      <dgm:spPr/>
    </dgm:pt>
    <dgm:pt modelId="{A38A8B1C-DF0C-48BE-8B85-911A99066D8C}" type="pres">
      <dgm:prSet presAssocID="{A5270840-40C8-4B71-AF4F-0AC47A6EE159}" presName="spaceBetweenRectangles" presStyleCnt="0"/>
      <dgm:spPr/>
    </dgm:pt>
    <dgm:pt modelId="{5C00C3DF-8B04-423E-87B6-35DCAFF12C88}" type="pres">
      <dgm:prSet presAssocID="{000B5D19-4447-48F6-B12E-7CA9CDECC1FA}" presName="composite" presStyleCnt="0"/>
      <dgm:spPr/>
    </dgm:pt>
    <dgm:pt modelId="{D54553B5-CCED-4CC9-80DC-9FA4F8A53B00}" type="pres">
      <dgm:prSet presAssocID="{000B5D19-4447-48F6-B12E-7CA9CDECC1FA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A713A3F3-A2AA-4A4B-9C0B-9089B61C7E83}" type="pres">
      <dgm:prSet presAssocID="{000B5D19-4447-48F6-B12E-7CA9CDECC1FA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8BEAB786-1F4D-42F2-AB69-8D04B332CC94}" type="pres">
      <dgm:prSet presAssocID="{000B5D19-4447-48F6-B12E-7CA9CDECC1FA}" presName="BalanceSpacing" presStyleCnt="0"/>
      <dgm:spPr/>
    </dgm:pt>
    <dgm:pt modelId="{9CD533B8-4D8C-474D-B64B-EC46A4683914}" type="pres">
      <dgm:prSet presAssocID="{000B5D19-4447-48F6-B12E-7CA9CDECC1FA}" presName="BalanceSpacing1" presStyleCnt="0"/>
      <dgm:spPr/>
    </dgm:pt>
    <dgm:pt modelId="{26665BA7-28D9-46EF-A081-91CCF719A150}" type="pres">
      <dgm:prSet presAssocID="{9399684B-9D3E-4732-A40B-776B32C63962}" presName="Accent1Text" presStyleLbl="node1" presStyleIdx="3" presStyleCnt="6"/>
      <dgm:spPr/>
    </dgm:pt>
    <dgm:pt modelId="{F347FBAA-839C-4CF4-9C65-141CF795E6A4}" type="pres">
      <dgm:prSet presAssocID="{9399684B-9D3E-4732-A40B-776B32C63962}" presName="spaceBetweenRectangles" presStyleCnt="0"/>
      <dgm:spPr/>
    </dgm:pt>
    <dgm:pt modelId="{97233942-740F-4B44-B663-A49B33A01747}" type="pres">
      <dgm:prSet presAssocID="{6D0F0059-B919-4CCB-84C5-C5E932978406}" presName="composite" presStyleCnt="0"/>
      <dgm:spPr/>
    </dgm:pt>
    <dgm:pt modelId="{35ADBB8A-828D-402B-B2F4-B05FA5F60E7D}" type="pres">
      <dgm:prSet presAssocID="{6D0F0059-B919-4CCB-84C5-C5E932978406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F1347670-1C22-444A-994E-3169F9E4904E}" type="pres">
      <dgm:prSet presAssocID="{6D0F0059-B919-4CCB-84C5-C5E932978406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98ECA080-64BE-43E5-9031-FD84C26D672D}" type="pres">
      <dgm:prSet presAssocID="{6D0F0059-B919-4CCB-84C5-C5E932978406}" presName="BalanceSpacing" presStyleCnt="0"/>
      <dgm:spPr/>
    </dgm:pt>
    <dgm:pt modelId="{28439ED4-107F-4523-B047-7BFA6FE20F31}" type="pres">
      <dgm:prSet presAssocID="{6D0F0059-B919-4CCB-84C5-C5E932978406}" presName="BalanceSpacing1" presStyleCnt="0"/>
      <dgm:spPr/>
    </dgm:pt>
    <dgm:pt modelId="{23C72D9F-9A2C-45A6-82C7-0BE8911E8301}" type="pres">
      <dgm:prSet presAssocID="{5FC271BD-857E-4E4D-8FD2-0B37069BC1DA}" presName="Accent1Text" presStyleLbl="node1" presStyleIdx="5" presStyleCnt="6"/>
      <dgm:spPr/>
    </dgm:pt>
  </dgm:ptLst>
  <dgm:cxnLst>
    <dgm:cxn modelId="{B58D051A-14F9-49E4-AD1C-6AFC29C19A64}" type="presOf" srcId="{5FC271BD-857E-4E4D-8FD2-0B37069BC1DA}" destId="{23C72D9F-9A2C-45A6-82C7-0BE8911E8301}" srcOrd="0" destOrd="0" presId="urn:microsoft.com/office/officeart/2008/layout/AlternatingHexagons"/>
    <dgm:cxn modelId="{D5D3B62B-0BD3-4FB5-AE95-0CB4FE181104}" type="presOf" srcId="{8B90024E-CF9A-428D-8B7A-9C31BAFD1E55}" destId="{81932897-83A4-43DB-AA10-ADBD8D824369}" srcOrd="0" destOrd="0" presId="urn:microsoft.com/office/officeart/2008/layout/AlternatingHexagons"/>
    <dgm:cxn modelId="{A8157B43-8214-4F91-A14F-5CB3D7AD65EE}" type="presOf" srcId="{000B5D19-4447-48F6-B12E-7CA9CDECC1FA}" destId="{D54553B5-CCED-4CC9-80DC-9FA4F8A53B00}" srcOrd="0" destOrd="0" presId="urn:microsoft.com/office/officeart/2008/layout/AlternatingHexagons"/>
    <dgm:cxn modelId="{4E32624F-7122-4801-9B06-254B0A6B899D}" type="presOf" srcId="{9399684B-9D3E-4732-A40B-776B32C63962}" destId="{26665BA7-28D9-46EF-A081-91CCF719A150}" srcOrd="0" destOrd="0" presId="urn:microsoft.com/office/officeart/2008/layout/AlternatingHexagons"/>
    <dgm:cxn modelId="{CC6EE188-FCBB-4476-90B2-E2EE61A0E14E}" type="presOf" srcId="{6D0F0059-B919-4CCB-84C5-C5E932978406}" destId="{35ADBB8A-828D-402B-B2F4-B05FA5F60E7D}" srcOrd="0" destOrd="0" presId="urn:microsoft.com/office/officeart/2008/layout/AlternatingHexagons"/>
    <dgm:cxn modelId="{88C9A099-03F8-4C22-AA34-939BED3ECCEA}" srcId="{CDB188E7-5B07-49E8-BA1D-07DCF475A88A}" destId="{000B5D19-4447-48F6-B12E-7CA9CDECC1FA}" srcOrd="1" destOrd="0" parTransId="{9EA8924C-1D90-4BED-82CA-26F9A2C42956}" sibTransId="{9399684B-9D3E-4732-A40B-776B32C63962}"/>
    <dgm:cxn modelId="{7A2926CE-B933-403F-83A5-E8BD44739956}" srcId="{CDB188E7-5B07-49E8-BA1D-07DCF475A88A}" destId="{6D0F0059-B919-4CCB-84C5-C5E932978406}" srcOrd="2" destOrd="0" parTransId="{54A9DD86-4BBF-4B98-8342-BD8911B4E58A}" sibTransId="{5FC271BD-857E-4E4D-8FD2-0B37069BC1DA}"/>
    <dgm:cxn modelId="{AEAB24DB-257C-4762-9515-2B7C0155F903}" srcId="{CDB188E7-5B07-49E8-BA1D-07DCF475A88A}" destId="{8B90024E-CF9A-428D-8B7A-9C31BAFD1E55}" srcOrd="0" destOrd="0" parTransId="{F094300F-226C-45BF-8E6F-1773C09AAA46}" sibTransId="{A5270840-40C8-4B71-AF4F-0AC47A6EE159}"/>
    <dgm:cxn modelId="{07BF09DE-76F7-4A9A-9C9F-63338C9465EB}" type="presOf" srcId="{A5270840-40C8-4B71-AF4F-0AC47A6EE159}" destId="{3E8CA849-2C66-4864-B34D-3609CE8F2197}" srcOrd="0" destOrd="0" presId="urn:microsoft.com/office/officeart/2008/layout/AlternatingHexagons"/>
    <dgm:cxn modelId="{7B52DCEB-6653-4D24-BFB2-3CB7D8D793E8}" type="presOf" srcId="{CDB188E7-5B07-49E8-BA1D-07DCF475A88A}" destId="{D0C7C0E4-D359-404A-BD1B-D72E2651B92F}" srcOrd="0" destOrd="0" presId="urn:microsoft.com/office/officeart/2008/layout/AlternatingHexagons"/>
    <dgm:cxn modelId="{3B490D03-A4E9-46C8-A41A-C784306D3CB9}" type="presParOf" srcId="{D0C7C0E4-D359-404A-BD1B-D72E2651B92F}" destId="{8CEE4206-30DD-469D-AF2A-3D088BBD79B0}" srcOrd="0" destOrd="0" presId="urn:microsoft.com/office/officeart/2008/layout/AlternatingHexagons"/>
    <dgm:cxn modelId="{97B940DC-1426-4477-8212-833954B993E8}" type="presParOf" srcId="{8CEE4206-30DD-469D-AF2A-3D088BBD79B0}" destId="{81932897-83A4-43DB-AA10-ADBD8D824369}" srcOrd="0" destOrd="0" presId="urn:microsoft.com/office/officeart/2008/layout/AlternatingHexagons"/>
    <dgm:cxn modelId="{7E67B5CC-2013-4CAA-B711-B8845F479F1E}" type="presParOf" srcId="{8CEE4206-30DD-469D-AF2A-3D088BBD79B0}" destId="{4CE7B0C2-579F-405C-9474-59073B4B8A1C}" srcOrd="1" destOrd="0" presId="urn:microsoft.com/office/officeart/2008/layout/AlternatingHexagons"/>
    <dgm:cxn modelId="{2D971D10-179F-40FD-8BE8-C22DE6A57217}" type="presParOf" srcId="{8CEE4206-30DD-469D-AF2A-3D088BBD79B0}" destId="{C7A65F4C-EAB9-44F3-B63C-CF87FF15E084}" srcOrd="2" destOrd="0" presId="urn:microsoft.com/office/officeart/2008/layout/AlternatingHexagons"/>
    <dgm:cxn modelId="{C420DEAC-79B1-4239-9FDF-EB84432DEF65}" type="presParOf" srcId="{8CEE4206-30DD-469D-AF2A-3D088BBD79B0}" destId="{D1A0E37D-E1BC-4069-937E-3AEFC57F0629}" srcOrd="3" destOrd="0" presId="urn:microsoft.com/office/officeart/2008/layout/AlternatingHexagons"/>
    <dgm:cxn modelId="{6615518E-941C-4889-90B1-D18311D7A199}" type="presParOf" srcId="{8CEE4206-30DD-469D-AF2A-3D088BBD79B0}" destId="{3E8CA849-2C66-4864-B34D-3609CE8F2197}" srcOrd="4" destOrd="0" presId="urn:microsoft.com/office/officeart/2008/layout/AlternatingHexagons"/>
    <dgm:cxn modelId="{D0BC7D86-7DB7-4DBE-9755-F85730AB94B7}" type="presParOf" srcId="{D0C7C0E4-D359-404A-BD1B-D72E2651B92F}" destId="{A38A8B1C-DF0C-48BE-8B85-911A99066D8C}" srcOrd="1" destOrd="0" presId="urn:microsoft.com/office/officeart/2008/layout/AlternatingHexagons"/>
    <dgm:cxn modelId="{8A3DEC74-6282-4DE4-87C2-BDF37CF1FC01}" type="presParOf" srcId="{D0C7C0E4-D359-404A-BD1B-D72E2651B92F}" destId="{5C00C3DF-8B04-423E-87B6-35DCAFF12C88}" srcOrd="2" destOrd="0" presId="urn:microsoft.com/office/officeart/2008/layout/AlternatingHexagons"/>
    <dgm:cxn modelId="{39886BAE-26A9-4F25-A5B5-905FFE9DBD94}" type="presParOf" srcId="{5C00C3DF-8B04-423E-87B6-35DCAFF12C88}" destId="{D54553B5-CCED-4CC9-80DC-9FA4F8A53B00}" srcOrd="0" destOrd="0" presId="urn:microsoft.com/office/officeart/2008/layout/AlternatingHexagons"/>
    <dgm:cxn modelId="{45C7BF5F-6315-4D2F-A105-16991ECD6319}" type="presParOf" srcId="{5C00C3DF-8B04-423E-87B6-35DCAFF12C88}" destId="{A713A3F3-A2AA-4A4B-9C0B-9089B61C7E83}" srcOrd="1" destOrd="0" presId="urn:microsoft.com/office/officeart/2008/layout/AlternatingHexagons"/>
    <dgm:cxn modelId="{E56386E8-A7E9-4C0C-BCBE-61115D33A317}" type="presParOf" srcId="{5C00C3DF-8B04-423E-87B6-35DCAFF12C88}" destId="{8BEAB786-1F4D-42F2-AB69-8D04B332CC94}" srcOrd="2" destOrd="0" presId="urn:microsoft.com/office/officeart/2008/layout/AlternatingHexagons"/>
    <dgm:cxn modelId="{98E83C54-0767-4438-BDDF-DBE688279CC5}" type="presParOf" srcId="{5C00C3DF-8B04-423E-87B6-35DCAFF12C88}" destId="{9CD533B8-4D8C-474D-B64B-EC46A4683914}" srcOrd="3" destOrd="0" presId="urn:microsoft.com/office/officeart/2008/layout/AlternatingHexagons"/>
    <dgm:cxn modelId="{9686DF6F-57EA-4C6B-88E4-CD128D749608}" type="presParOf" srcId="{5C00C3DF-8B04-423E-87B6-35DCAFF12C88}" destId="{26665BA7-28D9-46EF-A081-91CCF719A150}" srcOrd="4" destOrd="0" presId="urn:microsoft.com/office/officeart/2008/layout/AlternatingHexagons"/>
    <dgm:cxn modelId="{3DB0EA03-23EB-4321-AC10-0BEF347386A9}" type="presParOf" srcId="{D0C7C0E4-D359-404A-BD1B-D72E2651B92F}" destId="{F347FBAA-839C-4CF4-9C65-141CF795E6A4}" srcOrd="3" destOrd="0" presId="urn:microsoft.com/office/officeart/2008/layout/AlternatingHexagons"/>
    <dgm:cxn modelId="{9F52CCB5-37A4-4198-B0B5-FF4352644387}" type="presParOf" srcId="{D0C7C0E4-D359-404A-BD1B-D72E2651B92F}" destId="{97233942-740F-4B44-B663-A49B33A01747}" srcOrd="4" destOrd="0" presId="urn:microsoft.com/office/officeart/2008/layout/AlternatingHexagons"/>
    <dgm:cxn modelId="{BDEB49B0-807F-4B05-83A5-39C1939F0C3C}" type="presParOf" srcId="{97233942-740F-4B44-B663-A49B33A01747}" destId="{35ADBB8A-828D-402B-B2F4-B05FA5F60E7D}" srcOrd="0" destOrd="0" presId="urn:microsoft.com/office/officeart/2008/layout/AlternatingHexagons"/>
    <dgm:cxn modelId="{5391BDFA-771E-4071-BAA4-D76585F9A138}" type="presParOf" srcId="{97233942-740F-4B44-B663-A49B33A01747}" destId="{F1347670-1C22-444A-994E-3169F9E4904E}" srcOrd="1" destOrd="0" presId="urn:microsoft.com/office/officeart/2008/layout/AlternatingHexagons"/>
    <dgm:cxn modelId="{A9DADA49-52FF-42AA-B47B-712CF9B74004}" type="presParOf" srcId="{97233942-740F-4B44-B663-A49B33A01747}" destId="{98ECA080-64BE-43E5-9031-FD84C26D672D}" srcOrd="2" destOrd="0" presId="urn:microsoft.com/office/officeart/2008/layout/AlternatingHexagons"/>
    <dgm:cxn modelId="{392F28AF-505F-4779-9E65-C4DA82F5BC6C}" type="presParOf" srcId="{97233942-740F-4B44-B663-A49B33A01747}" destId="{28439ED4-107F-4523-B047-7BFA6FE20F31}" srcOrd="3" destOrd="0" presId="urn:microsoft.com/office/officeart/2008/layout/AlternatingHexagons"/>
    <dgm:cxn modelId="{6DDEC430-91D7-43CC-BF88-5FA3290B6582}" type="presParOf" srcId="{97233942-740F-4B44-B663-A49B33A01747}" destId="{23C72D9F-9A2C-45A6-82C7-0BE8911E8301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9477D7-21D4-415A-8ED6-62B197B80C3A}">
      <dsp:nvSpPr>
        <dsp:cNvPr id="0" name=""/>
        <dsp:cNvSpPr/>
      </dsp:nvSpPr>
      <dsp:spPr>
        <a:xfrm>
          <a:off x="1583279" y="1073511"/>
          <a:ext cx="3979681" cy="369958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Artificial Intelligence (AI)</a:t>
          </a:r>
        </a:p>
      </dsp:txBody>
      <dsp:txXfrm>
        <a:off x="3016760" y="1258490"/>
        <a:ext cx="1112718" cy="554938"/>
      </dsp:txXfrm>
    </dsp:sp>
    <dsp:sp modelId="{57A97F6C-7CD1-45E7-B695-3CB89FF58F1C}">
      <dsp:nvSpPr>
        <dsp:cNvPr id="0" name=""/>
        <dsp:cNvSpPr/>
      </dsp:nvSpPr>
      <dsp:spPr>
        <a:xfrm>
          <a:off x="2258460" y="2122659"/>
          <a:ext cx="2644694" cy="264102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Machine Learning</a:t>
          </a:r>
        </a:p>
      </dsp:txBody>
      <dsp:txXfrm>
        <a:off x="3118647" y="2281120"/>
        <a:ext cx="924320" cy="475383"/>
      </dsp:txXfrm>
    </dsp:sp>
    <dsp:sp modelId="{C2BCFE2A-1FFE-458D-9F38-CB757778F59E}">
      <dsp:nvSpPr>
        <dsp:cNvPr id="0" name=""/>
        <dsp:cNvSpPr/>
      </dsp:nvSpPr>
      <dsp:spPr>
        <a:xfrm>
          <a:off x="2750204" y="2917778"/>
          <a:ext cx="1808444" cy="185517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Deep Learning</a:t>
          </a:r>
        </a:p>
      </dsp:txBody>
      <dsp:txXfrm>
        <a:off x="3233059" y="3056917"/>
        <a:ext cx="842734" cy="417415"/>
      </dsp:txXfrm>
    </dsp:sp>
    <dsp:sp modelId="{355DC904-33AF-4632-93DA-E8DC1497E633}">
      <dsp:nvSpPr>
        <dsp:cNvPr id="0" name=""/>
        <dsp:cNvSpPr/>
      </dsp:nvSpPr>
      <dsp:spPr>
        <a:xfrm>
          <a:off x="3115482" y="3742372"/>
          <a:ext cx="956566" cy="103050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LLM</a:t>
          </a:r>
        </a:p>
      </dsp:txBody>
      <dsp:txXfrm>
        <a:off x="3255568" y="3999998"/>
        <a:ext cx="676394" cy="51525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27A979-93DB-4D72-891A-0E9646FB2C0E}">
      <dsp:nvSpPr>
        <dsp:cNvPr id="0" name=""/>
        <dsp:cNvSpPr/>
      </dsp:nvSpPr>
      <dsp:spPr>
        <a:xfrm>
          <a:off x="4278" y="1214741"/>
          <a:ext cx="2490816" cy="99632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011" tIns="29337" rIns="29337" bIns="29337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DATA</a:t>
          </a:r>
        </a:p>
      </dsp:txBody>
      <dsp:txXfrm>
        <a:off x="502441" y="1214741"/>
        <a:ext cx="1494490" cy="996326"/>
      </dsp:txXfrm>
    </dsp:sp>
    <dsp:sp modelId="{025A60AB-E767-4349-A264-EDE82777FBDC}">
      <dsp:nvSpPr>
        <dsp:cNvPr id="0" name=""/>
        <dsp:cNvSpPr/>
      </dsp:nvSpPr>
      <dsp:spPr>
        <a:xfrm>
          <a:off x="2246013" y="1214741"/>
          <a:ext cx="2490816" cy="99632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011" tIns="29337" rIns="29337" bIns="29337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INSIGHTS</a:t>
          </a:r>
        </a:p>
      </dsp:txBody>
      <dsp:txXfrm>
        <a:off x="2744176" y="1214741"/>
        <a:ext cx="1494490" cy="996326"/>
      </dsp:txXfrm>
    </dsp:sp>
    <dsp:sp modelId="{C87ECBA5-12EF-45FE-A689-EFE899D89489}">
      <dsp:nvSpPr>
        <dsp:cNvPr id="0" name=""/>
        <dsp:cNvSpPr/>
      </dsp:nvSpPr>
      <dsp:spPr>
        <a:xfrm>
          <a:off x="4487748" y="1214741"/>
          <a:ext cx="2490816" cy="99632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011" tIns="29337" rIns="29337" bIns="29337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ACTIONS</a:t>
          </a:r>
        </a:p>
      </dsp:txBody>
      <dsp:txXfrm>
        <a:off x="4985911" y="1214741"/>
        <a:ext cx="1494490" cy="996326"/>
      </dsp:txXfrm>
    </dsp:sp>
    <dsp:sp modelId="{15AAD2E3-A45A-4BF9-BAB8-186BAA60D1B8}">
      <dsp:nvSpPr>
        <dsp:cNvPr id="0" name=""/>
        <dsp:cNvSpPr/>
      </dsp:nvSpPr>
      <dsp:spPr>
        <a:xfrm>
          <a:off x="6729483" y="1214741"/>
          <a:ext cx="2490816" cy="99632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011" tIns="29337" rIns="29337" bIns="29337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OUTCOMES</a:t>
          </a:r>
        </a:p>
      </dsp:txBody>
      <dsp:txXfrm>
        <a:off x="7227646" y="1214741"/>
        <a:ext cx="1494490" cy="9963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27A979-93DB-4D72-891A-0E9646FB2C0E}">
      <dsp:nvSpPr>
        <dsp:cNvPr id="0" name=""/>
        <dsp:cNvSpPr/>
      </dsp:nvSpPr>
      <dsp:spPr>
        <a:xfrm>
          <a:off x="4278" y="1214741"/>
          <a:ext cx="2490816" cy="99632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011" tIns="29337" rIns="29337" bIns="29337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DATA</a:t>
          </a:r>
        </a:p>
      </dsp:txBody>
      <dsp:txXfrm>
        <a:off x="502441" y="1214741"/>
        <a:ext cx="1494490" cy="996326"/>
      </dsp:txXfrm>
    </dsp:sp>
    <dsp:sp modelId="{025A60AB-E767-4349-A264-EDE82777FBDC}">
      <dsp:nvSpPr>
        <dsp:cNvPr id="0" name=""/>
        <dsp:cNvSpPr/>
      </dsp:nvSpPr>
      <dsp:spPr>
        <a:xfrm>
          <a:off x="2246013" y="1214741"/>
          <a:ext cx="2490816" cy="99632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011" tIns="29337" rIns="29337" bIns="29337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INSIGHTS</a:t>
          </a:r>
        </a:p>
      </dsp:txBody>
      <dsp:txXfrm>
        <a:off x="2744176" y="1214741"/>
        <a:ext cx="1494490" cy="996326"/>
      </dsp:txXfrm>
    </dsp:sp>
    <dsp:sp modelId="{C87ECBA5-12EF-45FE-A689-EFE899D89489}">
      <dsp:nvSpPr>
        <dsp:cNvPr id="0" name=""/>
        <dsp:cNvSpPr/>
      </dsp:nvSpPr>
      <dsp:spPr>
        <a:xfrm>
          <a:off x="4487748" y="1214741"/>
          <a:ext cx="2490816" cy="99632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011" tIns="29337" rIns="29337" bIns="29337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ACTIONS</a:t>
          </a:r>
        </a:p>
      </dsp:txBody>
      <dsp:txXfrm>
        <a:off x="4985911" y="1214741"/>
        <a:ext cx="1494490" cy="996326"/>
      </dsp:txXfrm>
    </dsp:sp>
    <dsp:sp modelId="{15AAD2E3-A45A-4BF9-BAB8-186BAA60D1B8}">
      <dsp:nvSpPr>
        <dsp:cNvPr id="0" name=""/>
        <dsp:cNvSpPr/>
      </dsp:nvSpPr>
      <dsp:spPr>
        <a:xfrm>
          <a:off x="6729483" y="1214741"/>
          <a:ext cx="2490816" cy="99632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011" tIns="29337" rIns="29337" bIns="29337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OUTCOMES</a:t>
          </a:r>
        </a:p>
      </dsp:txBody>
      <dsp:txXfrm>
        <a:off x="7227646" y="1214741"/>
        <a:ext cx="1494490" cy="99632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32897-83A4-43DB-AA10-ADBD8D824369}">
      <dsp:nvSpPr>
        <dsp:cNvPr id="0" name=""/>
        <dsp:cNvSpPr/>
      </dsp:nvSpPr>
      <dsp:spPr>
        <a:xfrm rot="5400000">
          <a:off x="3384331" y="109739"/>
          <a:ext cx="1674703" cy="1456991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Governance</a:t>
          </a:r>
        </a:p>
      </dsp:txBody>
      <dsp:txXfrm rot="-5400000">
        <a:off x="3720235" y="261859"/>
        <a:ext cx="1002895" cy="1152754"/>
      </dsp:txXfrm>
    </dsp:sp>
    <dsp:sp modelId="{4CE7B0C2-579F-405C-9474-59073B4B8A1C}">
      <dsp:nvSpPr>
        <dsp:cNvPr id="0" name=""/>
        <dsp:cNvSpPr/>
      </dsp:nvSpPr>
      <dsp:spPr>
        <a:xfrm>
          <a:off x="4994391" y="335824"/>
          <a:ext cx="1868968" cy="10048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8CA849-2C66-4864-B34D-3609CE8F2197}">
      <dsp:nvSpPr>
        <dsp:cNvPr id="0" name=""/>
        <dsp:cNvSpPr/>
      </dsp:nvSpPr>
      <dsp:spPr>
        <a:xfrm rot="5400000">
          <a:off x="1810780" y="109739"/>
          <a:ext cx="1674703" cy="1456991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Quality</a:t>
          </a:r>
        </a:p>
      </dsp:txBody>
      <dsp:txXfrm rot="-5400000">
        <a:off x="2146684" y="261859"/>
        <a:ext cx="1002895" cy="1152754"/>
      </dsp:txXfrm>
    </dsp:sp>
    <dsp:sp modelId="{D54553B5-CCED-4CC9-80DC-9FA4F8A53B00}">
      <dsp:nvSpPr>
        <dsp:cNvPr id="0" name=""/>
        <dsp:cNvSpPr/>
      </dsp:nvSpPr>
      <dsp:spPr>
        <a:xfrm rot="5400000">
          <a:off x="2594541" y="1531227"/>
          <a:ext cx="1674703" cy="1456991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Lineage</a:t>
          </a:r>
        </a:p>
      </dsp:txBody>
      <dsp:txXfrm rot="-5400000">
        <a:off x="2930445" y="1683347"/>
        <a:ext cx="1002895" cy="1152754"/>
      </dsp:txXfrm>
    </dsp:sp>
    <dsp:sp modelId="{A713A3F3-A2AA-4A4B-9C0B-9089B61C7E83}">
      <dsp:nvSpPr>
        <dsp:cNvPr id="0" name=""/>
        <dsp:cNvSpPr/>
      </dsp:nvSpPr>
      <dsp:spPr>
        <a:xfrm>
          <a:off x="834428" y="1757312"/>
          <a:ext cx="1808679" cy="10048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665BA7-28D9-46EF-A081-91CCF719A150}">
      <dsp:nvSpPr>
        <dsp:cNvPr id="0" name=""/>
        <dsp:cNvSpPr/>
      </dsp:nvSpPr>
      <dsp:spPr>
        <a:xfrm rot="5400000">
          <a:off x="4168092" y="1531227"/>
          <a:ext cx="1674703" cy="1456991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ecurity</a:t>
          </a:r>
        </a:p>
      </dsp:txBody>
      <dsp:txXfrm rot="-5400000">
        <a:off x="4503996" y="1683347"/>
        <a:ext cx="1002895" cy="1152754"/>
      </dsp:txXfrm>
    </dsp:sp>
    <dsp:sp modelId="{35ADBB8A-828D-402B-B2F4-B05FA5F60E7D}">
      <dsp:nvSpPr>
        <dsp:cNvPr id="0" name=""/>
        <dsp:cNvSpPr/>
      </dsp:nvSpPr>
      <dsp:spPr>
        <a:xfrm rot="5400000">
          <a:off x="3384331" y="2952715"/>
          <a:ext cx="1674703" cy="1456991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calability</a:t>
          </a:r>
        </a:p>
      </dsp:txBody>
      <dsp:txXfrm rot="-5400000">
        <a:off x="3720235" y="3104835"/>
        <a:ext cx="1002895" cy="1152754"/>
      </dsp:txXfrm>
    </dsp:sp>
    <dsp:sp modelId="{F1347670-1C22-444A-994E-3169F9E4904E}">
      <dsp:nvSpPr>
        <dsp:cNvPr id="0" name=""/>
        <dsp:cNvSpPr/>
      </dsp:nvSpPr>
      <dsp:spPr>
        <a:xfrm>
          <a:off x="4994391" y="3178800"/>
          <a:ext cx="1868968" cy="10048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C72D9F-9A2C-45A6-82C7-0BE8911E8301}">
      <dsp:nvSpPr>
        <dsp:cNvPr id="0" name=""/>
        <dsp:cNvSpPr/>
      </dsp:nvSpPr>
      <dsp:spPr>
        <a:xfrm rot="5400000">
          <a:off x="1810780" y="2952715"/>
          <a:ext cx="1674703" cy="1456991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ntegration</a:t>
          </a:r>
        </a:p>
      </dsp:txBody>
      <dsp:txXfrm rot="-5400000">
        <a:off x="2146684" y="3104835"/>
        <a:ext cx="1002895" cy="11527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">
            <a:alphaModFix amt="30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0" y="0"/>
            <a:ext cx="230505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grpSpPr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7" name="Freeform 10"/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8" name="Freeform 11"/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3"/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4"/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5"/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6"/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7"/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8"/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19"/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0"/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1"/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2"/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3"/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4"/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Freeform 25"/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3" name="Freeform 26"/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7"/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Freeform 28"/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6" name="Freeform 29"/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7" name="Freeform 30"/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1"/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2"/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Rectangle 33"/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41" name="Freeform 34"/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5"/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3" name="Freeform 36"/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4" name="Freeform 37"/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5" name="Freeform 38"/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6" name="Freeform 39"/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7" name="Freeform 40"/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8" name="Freeform 41"/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9" name="Freeform 42"/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0" name="Freeform 43"/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1" name="Freeform 44"/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2" name="Rectangle 45"/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53" name="Freeform 46"/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4" name="Freeform 47"/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5" name="Freeform 48"/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6" name="Freeform 49"/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7" name="Freeform 50"/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8" name="Freeform 51"/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9" name="Freeform 52"/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0" name="Freeform 53"/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1" name="Freeform 54"/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2" name="Freeform 55"/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3" name="Freeform 56"/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4" name="Freeform 57"/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5" name="Freeform 58"/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6424" y="1122363"/>
            <a:ext cx="8791575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77511" y="5410201"/>
            <a:ext cx="2743200" cy="365125"/>
          </a:xfrm>
        </p:spPr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76424" y="5410201"/>
            <a:ext cx="512488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96911" y="5410199"/>
            <a:ext cx="771089" cy="365125"/>
          </a:xfrm>
        </p:spPr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0139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4304664"/>
            <a:ext cx="9912355" cy="819355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41411" y="606426"/>
            <a:ext cx="9912354" cy="3299778"/>
          </a:xfrm>
          <a:prstGeom prst="round2DiagRect">
            <a:avLst>
              <a:gd name="adj1" fmla="val 4860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320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5124020"/>
            <a:ext cx="9910859" cy="68247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127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56" y="609600"/>
            <a:ext cx="9905955" cy="3429000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4419599"/>
            <a:ext cx="9904459" cy="137159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662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599"/>
            <a:ext cx="9302752" cy="2748429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309919"/>
            <a:ext cx="9906002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  <p:sp>
        <p:nvSpPr>
          <p:cNvPr id="60" name="TextBox 59"/>
          <p:cNvSpPr txBox="1"/>
          <p:nvPr/>
        </p:nvSpPr>
        <p:spPr>
          <a:xfrm>
            <a:off x="903512" y="73239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0537370" y="276497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988367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2134041"/>
            <a:ext cx="9906001" cy="2511835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4657655"/>
            <a:ext cx="9904505" cy="1140644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2663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0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27918" y="3360263"/>
            <a:ext cx="3208735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6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04213" y="3363435"/>
            <a:ext cx="3195830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2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2" y="3360263"/>
            <a:ext cx="319496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275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141413" y="2666998"/>
            <a:ext cx="31952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41413" y="4980858"/>
            <a:ext cx="3195240" cy="8178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89053" y="4404596"/>
            <a:ext cx="32004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89053" y="2666998"/>
            <a:ext cx="31989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7593" y="4980857"/>
            <a:ext cx="3200400" cy="81034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567" y="4404595"/>
            <a:ext cx="3190741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52442" y="2666998"/>
            <a:ext cx="3194969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442" y="4980854"/>
            <a:ext cx="3194968" cy="81034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6270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333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0" y="609599"/>
            <a:ext cx="2005011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0" y="609599"/>
            <a:ext cx="7748590" cy="51816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72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718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419226"/>
            <a:ext cx="990600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</p:spPr>
        <p:txBody>
          <a:bodyPr>
            <a:normAutofit/>
          </a:bodyPr>
          <a:lstStyle>
            <a:lvl1pPr marL="0" indent="0">
              <a:buNone/>
              <a:defRPr sz="18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47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0" y="2249486"/>
            <a:ext cx="4878389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249486"/>
            <a:ext cx="4875211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814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19126"/>
            <a:ext cx="9906000" cy="147796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0019" y="2249486"/>
            <a:ext cx="4649783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0" y="3073397"/>
            <a:ext cx="4878391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8" y="2249485"/>
            <a:ext cx="4646602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73397"/>
            <a:ext cx="4875210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4866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828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061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6705" y="609601"/>
            <a:ext cx="3856037" cy="16398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6200" y="592666"/>
            <a:ext cx="5891209" cy="5198534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705" y="2249486"/>
            <a:ext cx="3856037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5171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5934508" cy="163988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380721" y="609601"/>
            <a:ext cx="3666690" cy="5181599"/>
          </a:xfrm>
          <a:prstGeom prst="round2DiagRect">
            <a:avLst>
              <a:gd name="adj1" fmla="val 5608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2249486"/>
            <a:ext cx="5934511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9020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0">
            <a:alphaModFix amt="30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-14288" y="0"/>
            <a:ext cx="12053888" cy="6858001"/>
            <a:chOff x="-14288" y="0"/>
            <a:chExt cx="12053888" cy="6858001"/>
          </a:xfrm>
          <a:gradFill flip="none" rotWithShape="1"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grpSpPr>
        <p:grpSp>
          <p:nvGrpSpPr>
            <p:cNvPr id="9" name="Group 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pFill/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4" name="Freeform 8"/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5" name="Freeform 9"/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6" name="Freeform 10"/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" name="Freeform 11"/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9" name="Freeform 13"/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0" name="Freeform 14"/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1" name="Freeform 15"/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2" name="Line 16"/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33" name="Freeform 17"/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4" name="Freeform 18"/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5" name="Freeform 19"/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6" name="Freeform 20"/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7" name="Rectangle 21"/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38" name="Freeform 22"/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9" name="Freeform 23"/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0" name="Freeform 24"/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1" name="Freeform 25"/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2" name="Freeform 26"/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3" name="Freeform 27"/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4" name="Freeform 28"/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5" name="Freeform 29"/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6" name="Freeform 30"/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7" name="Freeform 31"/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0" name="Group 9"/>
            <p:cNvGrpSpPr/>
            <p:nvPr/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pFill/>
          </p:grpSpPr>
          <p:sp>
            <p:nvSpPr>
              <p:cNvPr id="11" name="Freeform 32"/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" name="Freeform 33"/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4" name="Freeform 35"/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5" name="Freeform 36"/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6" name="Freeform 37"/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7" name="Freeform 38"/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" name="Freeform 39"/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" name="Freeform 40"/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986B00-50A4-4283-A908-69EB086C39BA}" type="datetimeFigureOut">
              <a:rPr lang="en-US" smtClean="0"/>
              <a:t>9/2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cap="all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5EA5D7-D56F-46DB-8EC5-14A3E1AF51F3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48" name="think-cell data - do not delete" hidden="1">
            <a:extLst>
              <a:ext uri="{FF2B5EF4-FFF2-40B4-BE49-F238E27FC236}">
                <a16:creationId xmlns:a16="http://schemas.microsoft.com/office/drawing/2014/main" id="{A19419F7-E705-3086-F732-B10FA8BD1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161131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9419F7-E705-3086-F732-B10FA8BD1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219836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125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oleObject" Target="../embeddings/oleObject12.bin"/><Relationship Id="rId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3.emf"/><Relationship Id="rId9" Type="http://schemas.microsoft.com/office/2007/relationships/diagramDrawing" Target="../diagrams/drawing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oleObject" Target="../embeddings/oleObject16.bin"/><Relationship Id="rId7" Type="http://schemas.openxmlformats.org/officeDocument/2006/relationships/diagramQuickStyle" Target="../diagrams/quickStyl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4" Type="http://schemas.openxmlformats.org/officeDocument/2006/relationships/image" Target="../media/image3.emf"/><Relationship Id="rId9" Type="http://schemas.microsoft.com/office/2007/relationships/diagramDrawing" Target="../diagrams/drawing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7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3.emf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3.emf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10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3.emf"/><Relationship Id="rId9" Type="http://schemas.microsoft.com/office/2007/relationships/diagramDrawing" Target="../diagrams/drawin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4681789-6C51-66C5-5E15-5394B1508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4960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681789-6C51-66C5-5E15-5394B1508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C2B139-4F19-7F71-0739-B8A1286076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ancing with the Stars: </a:t>
            </a:r>
            <a:br>
              <a:rPr lang="en-US" dirty="0"/>
            </a:br>
            <a:r>
              <a:rPr lang="en-US" dirty="0"/>
              <a:t>AI &amp; Da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1DFCA7-0117-082C-B6CB-2B673F98B69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(but No Mirror ball)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Keith Schleicher</a:t>
            </a:r>
          </a:p>
        </p:txBody>
      </p:sp>
    </p:spTree>
    <p:extLst>
      <p:ext uri="{BB962C8B-B14F-4D97-AF65-F5344CB8AC3E}">
        <p14:creationId xmlns:p14="http://schemas.microsoft.com/office/powerpoint/2010/main" val="4147907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3B27235-DE20-74EB-E87E-B362745B97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2671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B27235-DE20-74EB-E87E-B362745B9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6C8DEF-B22F-BAD9-CAAD-667B8C71C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ample US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14590F-6A22-0CA1-9BE1-4BFEB7BA03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Sales/Service representatives spend hours per day on calls with potential and current customers</a:t>
            </a:r>
          </a:p>
          <a:p>
            <a:endParaRPr lang="en-US" dirty="0"/>
          </a:p>
          <a:p>
            <a:r>
              <a:rPr lang="en-US" dirty="0"/>
              <a:t>While calls are recorded, most calls are manually summarized by a human and entered into a system (e.g. Salesforce, </a:t>
            </a:r>
            <a:r>
              <a:rPr lang="en-US" dirty="0" err="1"/>
              <a:t>ServiceCloud</a:t>
            </a:r>
            <a:r>
              <a:rPr lang="en-US" dirty="0"/>
              <a:t>, etc.)</a:t>
            </a:r>
          </a:p>
          <a:p>
            <a:endParaRPr lang="en-US" dirty="0"/>
          </a:p>
          <a:p>
            <a:r>
              <a:rPr lang="en-US" dirty="0"/>
              <a:t>AI can transcribe and summarize the calls, increasing the information captured and allowing the human to spend more time with customers</a:t>
            </a:r>
          </a:p>
        </p:txBody>
      </p:sp>
    </p:spTree>
    <p:extLst>
      <p:ext uri="{BB962C8B-B14F-4D97-AF65-F5344CB8AC3E}">
        <p14:creationId xmlns:p14="http://schemas.microsoft.com/office/powerpoint/2010/main" val="8816570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72CDC92-C528-5366-B89F-CE9BF49490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6692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2CDC92-C528-5366-B89F-CE9BF4949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74E9E9-4A44-D81C-868B-AEE137FD9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lying the framework	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5CA6F3F1-2260-2E72-6062-C8C106C2D2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4123414"/>
              </p:ext>
            </p:extLst>
          </p:nvPr>
        </p:nvGraphicFramePr>
        <p:xfrm>
          <a:off x="1618755" y="1492469"/>
          <a:ext cx="9224579" cy="34258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A8D9C18B-D36B-9D74-F0FB-147DC8B2441C}"/>
              </a:ext>
            </a:extLst>
          </p:cNvPr>
          <p:cNvSpPr txBox="1"/>
          <p:nvPr/>
        </p:nvSpPr>
        <p:spPr>
          <a:xfrm>
            <a:off x="1744717" y="4114581"/>
            <a:ext cx="19654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ll recordings and transcrip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1E34B4-34FE-8930-ADF7-C2B78EAB2665}"/>
              </a:ext>
            </a:extLst>
          </p:cNvPr>
          <p:cNvSpPr txBox="1"/>
          <p:nvPr/>
        </p:nvSpPr>
        <p:spPr>
          <a:xfrm>
            <a:off x="3976257" y="4114581"/>
            <a:ext cx="196543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reto Analysis of Common Defects</a:t>
            </a:r>
          </a:p>
          <a:p>
            <a:endParaRPr lang="en-US" dirty="0"/>
          </a:p>
          <a:p>
            <a:r>
              <a:rPr lang="en-US" dirty="0"/>
              <a:t>Commonly Asked Product Quest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91D93F-806B-F3A2-70AB-4B30F119C069}"/>
              </a:ext>
            </a:extLst>
          </p:cNvPr>
          <p:cNvSpPr txBox="1"/>
          <p:nvPr/>
        </p:nvSpPr>
        <p:spPr>
          <a:xfrm>
            <a:off x="6484886" y="4114581"/>
            <a:ext cx="196543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cess/Tech Improvements</a:t>
            </a:r>
          </a:p>
          <a:p>
            <a:endParaRPr lang="en-US" dirty="0"/>
          </a:p>
          <a:p>
            <a:r>
              <a:rPr lang="en-US" dirty="0"/>
              <a:t>FAQs for Key Product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8D5823-BB78-96F3-EEF5-38D0C38834A1}"/>
              </a:ext>
            </a:extLst>
          </p:cNvPr>
          <p:cNvSpPr txBox="1"/>
          <p:nvPr/>
        </p:nvSpPr>
        <p:spPr>
          <a:xfrm>
            <a:off x="8513381" y="4114581"/>
            <a:ext cx="196543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igher Satisfaction Scores/ Usage</a:t>
            </a:r>
          </a:p>
          <a:p>
            <a:endParaRPr lang="en-US" dirty="0"/>
          </a:p>
          <a:p>
            <a:r>
              <a:rPr lang="en-US" dirty="0"/>
              <a:t>Fewer Inbound Calls</a:t>
            </a:r>
          </a:p>
        </p:txBody>
      </p:sp>
    </p:spTree>
    <p:extLst>
      <p:ext uri="{BB962C8B-B14F-4D97-AF65-F5344CB8AC3E}">
        <p14:creationId xmlns:p14="http://schemas.microsoft.com/office/powerpoint/2010/main" val="41768582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2AE5BB1-1C52-A18C-2424-D720FF116B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4177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AE5BB1-1C52-A18C-2424-D720FF116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C33334-9294-F590-AE7F-C727FDC8F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enerative AI risk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CEF17AC-33CA-D4A5-EC3B-3CDB88DF3B8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141413" y="2447925"/>
            <a:ext cx="1800225" cy="1009650"/>
          </a:xfrm>
          <a:prstGeom prst="roundRect">
            <a:avLst>
              <a:gd name="adj" fmla="val 17767"/>
            </a:avLst>
          </a:prstGeom>
          <a:solidFill>
            <a:schemeClr val="accent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287338" rIns="0" bIns="288925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/>
              <a:t>Privacy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164DDE-D19D-2CAE-FDA8-2CA0D0836A4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146175" y="4079875"/>
            <a:ext cx="1800225" cy="1009650"/>
          </a:xfrm>
          <a:prstGeom prst="roundRect">
            <a:avLst>
              <a:gd name="adj" fmla="val 17767"/>
            </a:avLst>
          </a:prstGeom>
          <a:solidFill>
            <a:schemeClr val="accent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square" lIns="0" tIns="123825" rIns="0" bIns="123825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/>
              <a:t>Intellectual Property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2DD5D88-05EF-A065-8128-42BF6E6B060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021763" y="2447925"/>
            <a:ext cx="1800225" cy="1068388"/>
          </a:xfrm>
          <a:prstGeom prst="roundRect">
            <a:avLst>
              <a:gd name="adj" fmla="val 16790"/>
            </a:avLst>
          </a:prstGeom>
          <a:solidFill>
            <a:schemeClr val="accent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317500" rIns="0" bIns="31750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/>
              <a:t>Security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F8B9B24-CA7D-3A45-3B03-9459DA08CE9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25875" y="4089400"/>
            <a:ext cx="1800225" cy="1011238"/>
          </a:xfrm>
          <a:prstGeom prst="roundRect">
            <a:avLst>
              <a:gd name="adj" fmla="val 17739"/>
            </a:avLst>
          </a:prstGeom>
          <a:solidFill>
            <a:schemeClr val="accent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288925" rIns="0" bIns="288925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/>
              <a:t>Bia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62EFD0C-122E-8AF3-DFD9-22B93DEBDFF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462713" y="2447925"/>
            <a:ext cx="1762125" cy="1068388"/>
          </a:xfrm>
          <a:prstGeom prst="roundRect">
            <a:avLst>
              <a:gd name="adj" fmla="val 16790"/>
            </a:avLst>
          </a:prstGeom>
          <a:solidFill>
            <a:schemeClr val="accent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317500" rIns="0" bIns="31750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/>
              <a:t>Hallucination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FCFA862-8FB1-3C66-09F3-3567074AC7A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021763" y="4089399"/>
            <a:ext cx="1800225" cy="1011238"/>
          </a:xfrm>
          <a:prstGeom prst="roundRect">
            <a:avLst>
              <a:gd name="adj" fmla="val 17739"/>
            </a:avLst>
          </a:prstGeom>
          <a:solidFill>
            <a:schemeClr val="accent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square" lIns="0" tIns="125413" rIns="0" bIns="123825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/>
              <a:t>Change Managemen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F6B574B-20BF-E266-22F3-2CB86D81029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805238" y="2447925"/>
            <a:ext cx="1819275" cy="1068388"/>
          </a:xfrm>
          <a:prstGeom prst="roundRect">
            <a:avLst>
              <a:gd name="adj" fmla="val 16790"/>
            </a:avLst>
          </a:prstGeom>
          <a:solidFill>
            <a:schemeClr val="accent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317500" rIns="0" bIns="31750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/>
              <a:t>Transparency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6D04AF2-B619-5E7A-8BF3-8BA4CED915D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478588" y="4089400"/>
            <a:ext cx="1765300" cy="1000125"/>
          </a:xfrm>
          <a:prstGeom prst="roundRect">
            <a:avLst>
              <a:gd name="adj" fmla="val 17937"/>
            </a:avLst>
          </a:prstGeom>
          <a:solidFill>
            <a:schemeClr val="accent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119063" rIns="0" bIns="1190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/>
              <a:t>Computational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/>
              <a:t>Effort</a:t>
            </a:r>
          </a:p>
        </p:txBody>
      </p:sp>
    </p:spTree>
    <p:extLst>
      <p:ext uri="{BB962C8B-B14F-4D97-AF65-F5344CB8AC3E}">
        <p14:creationId xmlns:p14="http://schemas.microsoft.com/office/powerpoint/2010/main" val="2216104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31836F3-A4CE-9FC9-3E61-D5EFC0BAF8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77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1836F3-A4CE-9FC9-3E61-D5EFC0BAF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F6BF0A-4BBC-D123-FF10-259F7A219D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ome Work still to do…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C27660D-A899-AAFE-A586-98A0D837A9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249486"/>
            <a:ext cx="4214973" cy="3541714"/>
          </a:xfrm>
        </p:spPr>
        <p:txBody>
          <a:bodyPr/>
          <a:lstStyle/>
          <a:p>
            <a:pPr marL="0" indent="0">
              <a:buNone/>
            </a:pPr>
            <a:r>
              <a:rPr lang="en-US" sz="2800" u="sng" dirty="0"/>
              <a:t>Prompt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dirty="0"/>
              <a:t>Generate an image of an adult woman walking her small dog in a city park.   The dog must be on a leash.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6BA46709-D587-659C-DE22-2C09BA6E2BE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/>
          <a:stretch>
            <a:fillRect/>
          </a:stretch>
        </p:blipFill>
        <p:spPr>
          <a:xfrm>
            <a:off x="1583719" y="2097088"/>
            <a:ext cx="3541712" cy="354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1623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1B1DF14-1301-6AE5-CE01-CA21163108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2863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B1DF14-1301-6AE5-CE01-CA21163108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FD59E19-0CE1-B15C-820B-F61BE802C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as a Dance Partn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CE976E-89EF-E320-7884-1D80C3706E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The AI/ML tools thrive on large volumes of data (even unstructured data)</a:t>
            </a:r>
          </a:p>
          <a:p>
            <a:endParaRPr lang="en-US" dirty="0"/>
          </a:p>
          <a:p>
            <a:r>
              <a:rPr lang="en-US" dirty="0"/>
              <a:t>Many of the innovations in LLMs arise by expanding the underlying training data </a:t>
            </a:r>
          </a:p>
          <a:p>
            <a:endParaRPr lang="en-US" dirty="0"/>
          </a:p>
          <a:p>
            <a:r>
              <a:rPr lang="en-US" dirty="0"/>
              <a:t>While AI/ML might be getting a lot of publicity, DATA is FOUNDATIONAL for organizational success.</a:t>
            </a:r>
          </a:p>
        </p:txBody>
      </p:sp>
    </p:spTree>
    <p:extLst>
      <p:ext uri="{BB962C8B-B14F-4D97-AF65-F5344CB8AC3E}">
        <p14:creationId xmlns:p14="http://schemas.microsoft.com/office/powerpoint/2010/main" val="4268076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F04A5CF-DC6E-B779-BC60-6C9B19C0D2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79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04A5CF-DC6E-B779-BC60-6C9B19C0D2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614143-577F-1083-424A-6B51E7FB2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Management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8C1A9138-456C-BF1F-54D5-B338F123624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7942188"/>
              </p:ext>
            </p:extLst>
          </p:nvPr>
        </p:nvGraphicFramePr>
        <p:xfrm>
          <a:off x="4347067" y="1860331"/>
          <a:ext cx="7697788" cy="4519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22CF5F7-66B4-F3BF-E878-6CE1CA9CC71C}"/>
              </a:ext>
            </a:extLst>
          </p:cNvPr>
          <p:cNvSpPr txBox="1"/>
          <p:nvPr/>
        </p:nvSpPr>
        <p:spPr>
          <a:xfrm>
            <a:off x="1309578" y="3038103"/>
            <a:ext cx="37143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/>
              <a:t>Data Platforms (and the underlying processes) are critical to the AI/ML journey</a:t>
            </a:r>
          </a:p>
        </p:txBody>
      </p:sp>
    </p:spTree>
    <p:extLst>
      <p:ext uri="{BB962C8B-B14F-4D97-AF65-F5344CB8AC3E}">
        <p14:creationId xmlns:p14="http://schemas.microsoft.com/office/powerpoint/2010/main" val="911025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7C5317B-4E6D-3474-C4CC-8825238DCE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024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C5317B-4E6D-3474-C4CC-8825238DC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C9BE89-9EAB-6C53-E22F-B9D644061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uggestions (data managemen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88CBB-FE08-08CC-B450-5133EAE0DA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 Quality/ governa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CBEFB0-56C5-C8AE-E48B-233CFFB14F8F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1127918" y="3507403"/>
            <a:ext cx="3208735" cy="243093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nsure consistency and accuracy of intern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stablish clear Data Governance policies and proced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oster a Data-driven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6DB7AB-8D3F-152C-C0E3-A478D211341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Scalable infrastru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73A1DA4-7B07-5FCD-EB39-C4F0FB01065A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4504213" y="3510575"/>
            <a:ext cx="3195830" cy="243093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tinued investment in Data Lakes/ Warehouses for structured and unstructured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valuate and pursue automation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A65461-501A-1D3E-C110-6EFD472543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alent/ collabor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EB35ADC-A1D6-6C7E-D26A-B0CB3B5FBC3B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7852442" y="3507403"/>
            <a:ext cx="3194968" cy="2430936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ire diverse tal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vest in training and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ncourage cross-functional collaboration</a:t>
            </a:r>
          </a:p>
        </p:txBody>
      </p:sp>
    </p:spTree>
    <p:extLst>
      <p:ext uri="{BB962C8B-B14F-4D97-AF65-F5344CB8AC3E}">
        <p14:creationId xmlns:p14="http://schemas.microsoft.com/office/powerpoint/2010/main" val="19913647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DBC722-28E2-40F2-7AF2-3976347C73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700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DBC722-28E2-40F2-7AF2-3976347C73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59D1D7-3995-BB43-8FEC-DE4CA286FE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knowledg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6FCB66-BBEF-0887-6951-2144F73A3D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2" y="2249487"/>
            <a:ext cx="10345096" cy="3541714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i="1" dirty="0"/>
              <a:t>Data is Everybody’s Business </a:t>
            </a:r>
            <a:r>
              <a:rPr lang="en-US" sz="2000" dirty="0"/>
              <a:t>by Barbara Wixom, Cynthia Beath &amp; Leslie Owens</a:t>
            </a:r>
            <a:endParaRPr lang="en-US" sz="2000" i="1" dirty="0"/>
          </a:p>
          <a:p>
            <a:pPr>
              <a:lnSpc>
                <a:spcPct val="150000"/>
              </a:lnSpc>
            </a:pPr>
            <a:r>
              <a:rPr lang="en-US" sz="2000" dirty="0" err="1"/>
              <a:t>ChatGPT</a:t>
            </a:r>
            <a:r>
              <a:rPr lang="en-US" sz="2000" dirty="0"/>
              <a:t> &amp; MS Co-pilot (AI Generated Image example)</a:t>
            </a:r>
          </a:p>
        </p:txBody>
      </p:sp>
    </p:spTree>
    <p:extLst>
      <p:ext uri="{BB962C8B-B14F-4D97-AF65-F5344CB8AC3E}">
        <p14:creationId xmlns:p14="http://schemas.microsoft.com/office/powerpoint/2010/main" val="13556192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4681789-6C51-66C5-5E15-5394B1508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821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681789-6C51-66C5-5E15-5394B1508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C2B139-4F19-7F71-0739-B8A1286076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algn="ctr"/>
            <a:r>
              <a:rPr lang="en-US" i="1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8865821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28E21F3-5170-4CC0-249B-BAA26D22F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495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8E21F3-5170-4CC0-249B-BAA26D22F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0DF14-B080-3CBF-FAB4-9FD2545B6F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41410" y="1756881"/>
            <a:ext cx="9904459" cy="4034317"/>
          </a:xfrm>
        </p:spPr>
        <p:txBody>
          <a:bodyPr/>
          <a:lstStyle/>
          <a:p>
            <a:r>
              <a:rPr lang="en-US" dirty="0"/>
              <a:t>The opinions expressed in this presentation are those of the author and do not reflect the opinions of his current or former employers.</a:t>
            </a:r>
          </a:p>
        </p:txBody>
      </p:sp>
    </p:spTree>
    <p:extLst>
      <p:ext uri="{BB962C8B-B14F-4D97-AF65-F5344CB8AC3E}">
        <p14:creationId xmlns:p14="http://schemas.microsoft.com/office/powerpoint/2010/main" val="21027218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1F4837-7883-FA02-34AC-0497A79F10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9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1F4837-7883-FA02-34AC-0497A79F1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A5D9E4-D35E-0E6E-4DCA-2941F7353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AGend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264D92-6BC5-AB50-E38A-9C006DA821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ersonal Journey with Data, Analytics, ML &amp; AI</a:t>
            </a:r>
          </a:p>
          <a:p>
            <a:r>
              <a:rPr lang="en-US" dirty="0"/>
              <a:t>Review of Key AI/ML concepts</a:t>
            </a:r>
          </a:p>
          <a:p>
            <a:r>
              <a:rPr lang="en-US" dirty="0"/>
              <a:t>Turning AI/ML into VALUE</a:t>
            </a:r>
          </a:p>
          <a:p>
            <a:r>
              <a:rPr lang="en-US" dirty="0"/>
              <a:t>Data and AI as “Dance Partners”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2037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678FCBB-E387-B75B-670C-33510273F4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4797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78FCBB-E387-B75B-670C-33510273F4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9CA379-2333-6CA4-AB06-1AD160CB5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eginning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A2C543-9962-6021-8B85-95C4DC9D55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46705" y="2517168"/>
            <a:ext cx="3856037" cy="3274031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/>
              <a:t>Long before the Internet or mobile sports apps lived the box scor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/>
              <a:t>Near daily consumption led to a love of statistics and real data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/>
              <a:t>Eventually a BS in Mathematics and a MS in Statistic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7EBA28-FE00-72F2-4D55-0A15EAE5A3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1222" y="687834"/>
            <a:ext cx="2688404" cy="573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441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88E9C2B-6E3E-8363-0CCB-51AC45AC1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760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E9C2B-6E3E-8363-0CCB-51AC45AC1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70AA2F-5138-39D5-BA97-5F9FE6F4C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 years of data in action</a:t>
            </a:r>
          </a:p>
        </p:txBody>
      </p:sp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92810273-FC02-1F4A-5C22-FEC30197464E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>
          <a:blip r:embed="rId5"/>
          <a:srcRect t="14167" b="14167"/>
          <a:stretch>
            <a:fillRect/>
          </a:stretch>
        </p:blipFill>
        <p:spPr>
          <a:xfrm>
            <a:off x="1351618" y="2832936"/>
            <a:ext cx="2847330" cy="135806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475F25D-8CA7-B16F-3E4D-365E8EDEEF1A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1141413" y="4428075"/>
            <a:ext cx="3195240" cy="1731285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tatistical Mod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redit Risk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arketing Analy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odel Governanc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FEB85F5-0AAA-1D7A-F2C4-6D84464E0B8B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4487593" y="4433144"/>
            <a:ext cx="3200400" cy="1715406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achine Learning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odel Validation/ Gover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inancial Crimes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ata Science Capabilities</a:t>
            </a: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28933B57-1882-664B-B45F-01040CB695CB}"/>
              </a:ext>
            </a:extLst>
          </p:cNvPr>
          <p:cNvPicPr>
            <a:picLocks noGrp="1" noChangeAspect="1"/>
          </p:cNvPicPr>
          <p:nvPr>
            <p:ph type="pic" idx="22"/>
          </p:nvPr>
        </p:nvPicPr>
        <p:blipFill>
          <a:blip r:embed="rId6"/>
          <a:srcRect t="3033" b="3033"/>
          <a:stretch>
            <a:fillRect/>
          </a:stretch>
        </p:blipFill>
        <p:spPr>
          <a:xfrm>
            <a:off x="8062647" y="2832936"/>
            <a:ext cx="2847089" cy="1358061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C7B19-5817-3713-14ED-F8D758AE9DD9}"/>
              </a:ext>
            </a:extLst>
          </p:cNvPr>
          <p:cNvSpPr>
            <a:spLocks noGrp="1"/>
          </p:cNvSpPr>
          <p:nvPr>
            <p:ph type="body" sz="half" idx="20"/>
          </p:nvPr>
        </p:nvSpPr>
        <p:spPr>
          <a:xfrm>
            <a:off x="7852442" y="4433140"/>
            <a:ext cx="3194968" cy="1715412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L/ML Use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mmercial Sales/Servi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inance/HR/Leg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I Governance</a:t>
            </a:r>
          </a:p>
        </p:txBody>
      </p:sp>
      <p:pic>
        <p:nvPicPr>
          <p:cNvPr id="27" name="Picture Placeholder 26">
            <a:extLst>
              <a:ext uri="{FF2B5EF4-FFF2-40B4-BE49-F238E27FC236}">
                <a16:creationId xmlns:a16="http://schemas.microsoft.com/office/drawing/2014/main" id="{A127350A-F83C-CBE9-367A-5F1F4464CBDC}"/>
              </a:ext>
            </a:extLst>
          </p:cNvPr>
          <p:cNvPicPr>
            <a:picLocks noGrp="1" noChangeAspect="1"/>
          </p:cNvPicPr>
          <p:nvPr>
            <p:ph type="pic" idx="21"/>
          </p:nvPr>
        </p:nvPicPr>
        <p:blipFill rotWithShape="1">
          <a:blip r:embed="rId7"/>
          <a:srcRect l="-26053" t="5882" r="-26053" b="5881"/>
          <a:stretch/>
        </p:blipFill>
        <p:spPr>
          <a:xfrm>
            <a:off x="4489053" y="2858815"/>
            <a:ext cx="319894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187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383066-C1B7-B692-CAA7-156189C128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277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383066-C1B7-B692-CAA7-156189C12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D5D251-B01D-FE54-9B66-2C368579E1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639521"/>
            <a:ext cx="9905998" cy="1478570"/>
          </a:xfrm>
        </p:spPr>
        <p:txBody>
          <a:bodyPr vert="horz"/>
          <a:lstStyle/>
          <a:p>
            <a:r>
              <a:rPr lang="en-US" dirty="0"/>
              <a:t>Distinctions between AI &amp; ML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EB1D99C0-185C-A83C-2BDD-01D4FEC5F1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056883"/>
              </p:ext>
            </p:extLst>
          </p:nvPr>
        </p:nvGraphicFramePr>
        <p:xfrm>
          <a:off x="550042" y="1253359"/>
          <a:ext cx="7311696" cy="4835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1720B23-0B3E-DD1C-E684-771DB908C926}"/>
              </a:ext>
            </a:extLst>
          </p:cNvPr>
          <p:cNvSpPr txBox="1"/>
          <p:nvPr/>
        </p:nvSpPr>
        <p:spPr>
          <a:xfrm>
            <a:off x="7189076" y="2118091"/>
            <a:ext cx="436179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u="sng" dirty="0"/>
              <a:t>Artificial Intelligence (AI):</a:t>
            </a:r>
            <a:r>
              <a:rPr lang="en-US" dirty="0"/>
              <a:t> Machines performing tasks requiring human-like intellig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u="sng" dirty="0"/>
              <a:t>Machine Learning (ML)</a:t>
            </a:r>
            <a:r>
              <a:rPr lang="en-US" dirty="0"/>
              <a:t>: A set of algorithms learning from data to improve tas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u="sng" dirty="0"/>
              <a:t>Deep Learning</a:t>
            </a:r>
            <a:r>
              <a:rPr lang="en-US" dirty="0"/>
              <a:t>: Neural networks with many layers for complex pattern recogni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u="sng" dirty="0"/>
              <a:t>Large Language Model (LLM)</a:t>
            </a:r>
            <a:r>
              <a:rPr lang="en-US" dirty="0"/>
              <a:t>: Deep learning models for understanding and generating human language.</a:t>
            </a:r>
          </a:p>
        </p:txBody>
      </p:sp>
    </p:spTree>
    <p:extLst>
      <p:ext uri="{BB962C8B-B14F-4D97-AF65-F5344CB8AC3E}">
        <p14:creationId xmlns:p14="http://schemas.microsoft.com/office/powerpoint/2010/main" val="1141028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5A019C-7FD7-1DD5-8C73-A41675746E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8953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5A019C-7FD7-1DD5-8C73-A41675746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FD8E12-BD5B-120F-DA11-3913DF315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83540"/>
            <a:ext cx="9905999" cy="1905000"/>
          </a:xfrm>
        </p:spPr>
        <p:txBody>
          <a:bodyPr vert="horz"/>
          <a:lstStyle/>
          <a:p>
            <a:r>
              <a:rPr lang="en-US" dirty="0"/>
              <a:t>Generative AI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ECB1C6-1268-BB2C-D47D-0B02283A1D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74097" y="3258960"/>
            <a:ext cx="3195240" cy="576262"/>
          </a:xfrm>
        </p:spPr>
        <p:txBody>
          <a:bodyPr/>
          <a:lstStyle/>
          <a:p>
            <a:r>
              <a:rPr lang="en-US" sz="2400" dirty="0"/>
              <a:t>creativit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3D5DE92-A667-4AE6-C54D-9F3BDB023D47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1174097" y="3835222"/>
            <a:ext cx="3195240" cy="817843"/>
          </a:xfrm>
        </p:spPr>
        <p:txBody>
          <a:bodyPr>
            <a:normAutofit/>
          </a:bodyPr>
          <a:lstStyle/>
          <a:p>
            <a:r>
              <a:rPr lang="en-US" sz="1600" dirty="0"/>
              <a:t>Produces original content (e.g. text, images and code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E4C3544-8D52-AD4D-D596-52EB6C7E5A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521737" y="3258960"/>
            <a:ext cx="3200400" cy="576262"/>
          </a:xfrm>
        </p:spPr>
        <p:txBody>
          <a:bodyPr/>
          <a:lstStyle/>
          <a:p>
            <a:r>
              <a:rPr lang="en-US" sz="2400" dirty="0"/>
              <a:t>automa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A6C314-66C9-C448-C78A-4FF497757D7B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4520277" y="3835221"/>
            <a:ext cx="3200400" cy="810342"/>
          </a:xfrm>
        </p:spPr>
        <p:txBody>
          <a:bodyPr>
            <a:normAutofit/>
          </a:bodyPr>
          <a:lstStyle/>
          <a:p>
            <a:r>
              <a:rPr lang="en-US" sz="1600" dirty="0"/>
              <a:t>Reduces time and effort associated with complex task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540F7A-88EE-BD13-C027-D9B21CC149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52567" y="3258959"/>
            <a:ext cx="3190741" cy="576262"/>
          </a:xfrm>
        </p:spPr>
        <p:txBody>
          <a:bodyPr/>
          <a:lstStyle/>
          <a:p>
            <a:r>
              <a:rPr lang="en-US" sz="2400" dirty="0"/>
              <a:t>versatility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7FBED35-5C64-2D8C-7718-338C8F895329}"/>
              </a:ext>
            </a:extLst>
          </p:cNvPr>
          <p:cNvSpPr>
            <a:spLocks noGrp="1"/>
          </p:cNvSpPr>
          <p:nvPr>
            <p:ph type="body" sz="half" idx="20"/>
          </p:nvPr>
        </p:nvSpPr>
        <p:spPr>
          <a:xfrm>
            <a:off x="7885126" y="3835218"/>
            <a:ext cx="3194968" cy="810345"/>
          </a:xfrm>
        </p:spPr>
        <p:txBody>
          <a:bodyPr>
            <a:normAutofit/>
          </a:bodyPr>
          <a:lstStyle/>
          <a:p>
            <a:r>
              <a:rPr lang="en-US" sz="1600" dirty="0"/>
              <a:t>Disruption occurring across multiple industries</a:t>
            </a:r>
          </a:p>
        </p:txBody>
      </p:sp>
      <p:pic>
        <p:nvPicPr>
          <p:cNvPr id="20" name="Graphic 19" descr="Lightbulb with solid fill">
            <a:extLst>
              <a:ext uri="{FF2B5EF4-FFF2-40B4-BE49-F238E27FC236}">
                <a16:creationId xmlns:a16="http://schemas.microsoft.com/office/drawing/2014/main" id="{E4C34C3C-F51D-444D-22F2-7A9FCB4E72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13642" y="4647528"/>
            <a:ext cx="1508234" cy="1508234"/>
          </a:xfrm>
          <a:prstGeom prst="rect">
            <a:avLst/>
          </a:prstGeom>
        </p:spPr>
      </p:pic>
      <p:pic>
        <p:nvPicPr>
          <p:cNvPr id="22" name="Graphic 21" descr="Robot Hand with solid fill">
            <a:extLst>
              <a:ext uri="{FF2B5EF4-FFF2-40B4-BE49-F238E27FC236}">
                <a16:creationId xmlns:a16="http://schemas.microsoft.com/office/drawing/2014/main" id="{A3EA177F-2BDC-1749-C588-A34B5D5491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50221" y="4596190"/>
            <a:ext cx="1508234" cy="1508234"/>
          </a:xfrm>
          <a:prstGeom prst="rect">
            <a:avLst/>
          </a:prstGeom>
        </p:spPr>
      </p:pic>
      <p:pic>
        <p:nvPicPr>
          <p:cNvPr id="24" name="Graphic 23" descr="Puzzle pieces with solid fill">
            <a:extLst>
              <a:ext uri="{FF2B5EF4-FFF2-40B4-BE49-F238E27FC236}">
                <a16:creationId xmlns:a16="http://schemas.microsoft.com/office/drawing/2014/main" id="{9C4794C1-5A4D-D2F7-D540-277BA110B4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13834" y="4618624"/>
            <a:ext cx="1408386" cy="140838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1FEA9ED-1D56-CDF6-7929-AEF2ADEAABBA}"/>
              </a:ext>
            </a:extLst>
          </p:cNvPr>
          <p:cNvSpPr txBox="1"/>
          <p:nvPr/>
        </p:nvSpPr>
        <p:spPr>
          <a:xfrm>
            <a:off x="1141412" y="2065604"/>
            <a:ext cx="966322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/>
              <a:t>Generative AI (</a:t>
            </a:r>
            <a:r>
              <a:rPr lang="en-US" sz="2200" dirty="0" err="1"/>
              <a:t>GenAI</a:t>
            </a:r>
            <a:r>
              <a:rPr lang="en-US" sz="2200" dirty="0"/>
              <a:t>) refers to algorithms that produce new data by learning underlying patterns in training data using LLMs</a:t>
            </a:r>
          </a:p>
        </p:txBody>
      </p:sp>
    </p:spTree>
    <p:extLst>
      <p:ext uri="{BB962C8B-B14F-4D97-AF65-F5344CB8AC3E}">
        <p14:creationId xmlns:p14="http://schemas.microsoft.com/office/powerpoint/2010/main" val="11104454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5FDE5BB-A314-14E1-E0A8-C1BEBAB039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63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DE5BB-A314-14E1-E0A8-C1BEBAB039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C158EF-06BA-0E8B-DDB1-DD10C545E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o Beyond the Hyp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0EDC74-E9F5-9E79-C8FD-F0B4ECE47C7E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1127918" y="2835667"/>
            <a:ext cx="2917117" cy="2955532"/>
          </a:xfrm>
          <a:prstGeom prst="wedgeEllipseCallout">
            <a:avLst>
              <a:gd name="adj1" fmla="val 20727"/>
              <a:gd name="adj2" fmla="val 58328"/>
            </a:avLst>
          </a:prstGeom>
          <a:ln>
            <a:solidFill>
              <a:schemeClr val="tx1"/>
            </a:solidFill>
          </a:ln>
        </p:spPr>
        <p:txBody>
          <a:bodyPr anchor="ctr" anchorCtr="0">
            <a:normAutofit/>
          </a:bodyPr>
          <a:lstStyle/>
          <a:p>
            <a:r>
              <a:rPr lang="en-US" sz="2400" dirty="0"/>
              <a:t>How do I build excitement for AI in my organization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0392738-C65C-7A63-C160-FBD3152B1203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8459765" y="2835667"/>
            <a:ext cx="2905385" cy="2955532"/>
          </a:xfrm>
          <a:prstGeom prst="wedgeEllipseCallout">
            <a:avLst>
              <a:gd name="adj1" fmla="val -42405"/>
              <a:gd name="adj2" fmla="val 54504"/>
            </a:avLst>
          </a:prstGeom>
          <a:ln>
            <a:solidFill>
              <a:schemeClr val="tx1"/>
            </a:solidFill>
          </a:ln>
        </p:spPr>
        <p:txBody>
          <a:bodyPr anchor="ctr" anchorCtr="0">
            <a:normAutofit lnSpcReduction="10000"/>
          </a:bodyPr>
          <a:lstStyle/>
          <a:p>
            <a:r>
              <a:rPr lang="en-US" sz="2400" dirty="0"/>
              <a:t>How do I translate Data, AI, ML, etc. into meaningful value? 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8646628-D075-BC07-494E-21BB2987C6E2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4759002" y="2835667"/>
            <a:ext cx="2904601" cy="2955532"/>
          </a:xfrm>
          <a:prstGeom prst="wedgeEllipseCallout">
            <a:avLst>
              <a:gd name="adj1" fmla="val -45593"/>
              <a:gd name="adj2" fmla="val -47001"/>
            </a:avLst>
          </a:prstGeom>
          <a:ln>
            <a:solidFill>
              <a:schemeClr val="tx1"/>
            </a:solidFill>
          </a:ln>
        </p:spPr>
        <p:txBody>
          <a:bodyPr anchor="ctr" anchorCtr="0">
            <a:normAutofit/>
          </a:bodyPr>
          <a:lstStyle/>
          <a:p>
            <a:r>
              <a:rPr lang="en-US" sz="2400" dirty="0"/>
              <a:t>How do I deliver on the promise of AI?</a:t>
            </a:r>
          </a:p>
        </p:txBody>
      </p:sp>
    </p:spTree>
    <p:extLst>
      <p:ext uri="{BB962C8B-B14F-4D97-AF65-F5344CB8AC3E}">
        <p14:creationId xmlns:p14="http://schemas.microsoft.com/office/powerpoint/2010/main" val="6130073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CEAA37-DCC0-A847-54BA-D55F84233B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376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CEAA37-DCC0-A847-54BA-D55F84233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E54058-E1CB-A431-0E05-5DE0F4E00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alue Stor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147FC9-1C3D-3D57-1323-DA42908808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7522" y="4728818"/>
            <a:ext cx="6556896" cy="147857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/>
              <a:t>Successful projects in AI/ML start with a clear problem, a willing sponsor and good data.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AD046F3A-7783-3B2D-A07F-F8AE05FE30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8500066"/>
              </p:ext>
            </p:extLst>
          </p:nvPr>
        </p:nvGraphicFramePr>
        <p:xfrm>
          <a:off x="1618755" y="1492469"/>
          <a:ext cx="9224579" cy="34258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231557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VF_m0oLifNE9jPbc6L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wQjfzZYRyFNu5IFC1o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2U7Hnly1Ywu2qECkOd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MhO.lyiNoM3cNlOB_w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5saol5jc5xTcFZmJN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9SR.FoFHioFfaQINBE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2KMpBA04AQFBgBqlp2_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WsZntvyfvvaJjr2TQN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ircuit">
  <a:themeElements>
    <a:clrScheme name="Circuit">
      <a:dk1>
        <a:sysClr val="windowText" lastClr="000000"/>
      </a:dk1>
      <a:lt1>
        <a:sysClr val="window" lastClr="FFFFFF"/>
      </a:lt1>
      <a:dk2>
        <a:srgbClr val="252C36"/>
      </a:dk2>
      <a:lt2>
        <a:srgbClr val="7C96A3"/>
      </a:lt2>
      <a:accent1>
        <a:srgbClr val="4FD093"/>
      </a:accent1>
      <a:accent2>
        <a:srgbClr val="54BCDF"/>
      </a:accent2>
      <a:accent3>
        <a:srgbClr val="A262D0"/>
      </a:accent3>
      <a:accent4>
        <a:srgbClr val="D7537B"/>
      </a:accent4>
      <a:accent5>
        <a:srgbClr val="E78045"/>
      </a:accent5>
      <a:accent6>
        <a:srgbClr val="84C350"/>
      </a:accent6>
      <a:hlink>
        <a:srgbClr val="22FFFF"/>
      </a:hlink>
      <a:folHlink>
        <a:srgbClr val="9BF3FD"/>
      </a:folHlink>
    </a:clrScheme>
    <a:fontScheme name="Circui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rcuit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94000"/>
                <a:satMod val="148000"/>
                <a:lumMod val="14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4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  <a:hueMod val="106000"/>
                <a:satMod val="140000"/>
                <a:lumMod val="42000"/>
              </a:schemeClr>
              <a:schemeClr val="phClr">
                <a:tint val="98000"/>
                <a:hueMod val="92000"/>
                <a:satMod val="220000"/>
                <a:lumMod val="9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rcuit" id="{0AC2F7E7-15F5-431C-B2A2-456FE929F56C}" vid="{142578CA-DEC9-49C3-80AF-C113973CC9A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ircuit</Template>
  <TotalTime>9166</TotalTime>
  <Words>656</Words>
  <Application>Microsoft Office PowerPoint</Application>
  <PresentationFormat>Widescreen</PresentationFormat>
  <Paragraphs>121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rial</vt:lpstr>
      <vt:lpstr>Tw Cen MT</vt:lpstr>
      <vt:lpstr>Circuit</vt:lpstr>
      <vt:lpstr>think-cell Slide</vt:lpstr>
      <vt:lpstr>Dancing with the Stars:  AI &amp; Data</vt:lpstr>
      <vt:lpstr>PowerPoint Presentation</vt:lpstr>
      <vt:lpstr>AGenda</vt:lpstr>
      <vt:lpstr>Beginnings</vt:lpstr>
      <vt:lpstr>30 years of data in action</vt:lpstr>
      <vt:lpstr>Distinctions between AI &amp; ML</vt:lpstr>
      <vt:lpstr>Generative AI</vt:lpstr>
      <vt:lpstr>Go Beyond the Hype</vt:lpstr>
      <vt:lpstr>Value Stories</vt:lpstr>
      <vt:lpstr>Example USE CASE</vt:lpstr>
      <vt:lpstr>Applying the framework </vt:lpstr>
      <vt:lpstr>Generative AI risks</vt:lpstr>
      <vt:lpstr>Some Work still to do…</vt:lpstr>
      <vt:lpstr>Data as a Dance Partner</vt:lpstr>
      <vt:lpstr>Data Management</vt:lpstr>
      <vt:lpstr>Suggestions (data management)</vt:lpstr>
      <vt:lpstr>Acknowledgement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od for Thought</dc:title>
  <dc:creator>Schleicher, Keith</dc:creator>
  <cp:lastModifiedBy>Schleicher, Keith</cp:lastModifiedBy>
  <cp:revision>1</cp:revision>
  <dcterms:created xsi:type="dcterms:W3CDTF">2024-08-08T19:05:26Z</dcterms:created>
  <dcterms:modified xsi:type="dcterms:W3CDTF">2024-09-23T17:38:37Z</dcterms:modified>
</cp:coreProperties>
</file>